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7" r:id="rId4"/>
    <p:sldMasterId id="2147483710" r:id="rId5"/>
    <p:sldMasterId id="2147483716" r:id="rId6"/>
    <p:sldMasterId id="2147483729" r:id="rId7"/>
    <p:sldMasterId id="2147483742" r:id="rId8"/>
  </p:sldMasterIdLst>
  <p:notesMasterIdLst>
    <p:notesMasterId r:id="rId17"/>
  </p:notesMasterIdLst>
  <p:sldIdLst>
    <p:sldId id="270" r:id="rId9"/>
    <p:sldId id="1909" r:id="rId10"/>
    <p:sldId id="1903" r:id="rId11"/>
    <p:sldId id="3296" r:id="rId12"/>
    <p:sldId id="3385" r:id="rId13"/>
    <p:sldId id="2416" r:id="rId14"/>
    <p:sldId id="1708" r:id="rId15"/>
    <p:sldId id="2230" r:id="rId16"/>
  </p:sldIdLst>
  <p:sldSz cx="9144000" cy="5143500" type="screen16x9"/>
  <p:notesSz cx="6797675" cy="9928225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431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uokko Lantz" initials="VL" lastIdx="3" clrIdx="0">
    <p:extLst>
      <p:ext uri="{19B8F6BF-5375-455C-9EA6-DF929625EA0E}">
        <p15:presenceInfo xmlns:p15="http://schemas.microsoft.com/office/powerpoint/2012/main" userId="S::vuokko.lantz@emberion.com::9c660cd5-533c-4ba3-9440-bab008422e1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F00"/>
    <a:srgbClr val="C86400"/>
    <a:srgbClr val="FD9803"/>
    <a:srgbClr val="FFD400"/>
    <a:srgbClr val="BF0000"/>
    <a:srgbClr val="C06102"/>
    <a:srgbClr val="FF00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20266E-EE4D-4196-9BCD-9973407DE8A5}" v="5" dt="2024-01-11T14:42:05.5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15" autoAdjust="0"/>
    <p:restoredTop sz="96320" autoAdjust="0"/>
  </p:normalViewPr>
  <p:slideViewPr>
    <p:cSldViewPr snapToGrid="0">
      <p:cViewPr varScale="1">
        <p:scale>
          <a:sx n="145" d="100"/>
          <a:sy n="145" d="100"/>
        </p:scale>
        <p:origin x="936" y="114"/>
      </p:cViewPr>
      <p:guideLst>
        <p:guide orient="horz" pos="1620"/>
        <p:guide pos="2880"/>
        <p:guide pos="4319"/>
      </p:guideLst>
    </p:cSldViewPr>
  </p:slideViewPr>
  <p:outlineViewPr>
    <p:cViewPr>
      <p:scale>
        <a:sx n="33" d="100"/>
        <a:sy n="33" d="100"/>
      </p:scale>
      <p:origin x="0" y="-52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0" d="100"/>
        <a:sy n="180" d="100"/>
      </p:scale>
      <p:origin x="0" y="-2125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microsoft.com/office/2016/11/relationships/changesInfo" Target="changesInfos/changesInfo1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Yao Shi" userId="05a88187-dbb6-4b82-ab5c-466bb958c302" providerId="ADAL" clId="{624A38A0-FF77-B74F-9A78-68D9CF78BA1A}"/>
    <pc:docChg chg="undo custSel addSld delSld modSld modMainMaster">
      <pc:chgData name="LuYao Shi" userId="05a88187-dbb6-4b82-ab5c-466bb958c302" providerId="ADAL" clId="{624A38A0-FF77-B74F-9A78-68D9CF78BA1A}" dt="2023-01-25T13:02:37.536" v="123" actId="2696"/>
      <pc:docMkLst>
        <pc:docMk/>
      </pc:docMkLst>
      <pc:sldChg chg="addSp delSp modSp mod">
        <pc:chgData name="LuYao Shi" userId="05a88187-dbb6-4b82-ab5c-466bb958c302" providerId="ADAL" clId="{624A38A0-FF77-B74F-9A78-68D9CF78BA1A}" dt="2023-01-25T12:47:34.112" v="35"/>
        <pc:sldMkLst>
          <pc:docMk/>
          <pc:sldMk cId="4159142296" sldId="1708"/>
        </pc:sldMkLst>
        <pc:spChg chg="add del mod">
          <ac:chgData name="LuYao Shi" userId="05a88187-dbb6-4b82-ab5c-466bb958c302" providerId="ADAL" clId="{624A38A0-FF77-B74F-9A78-68D9CF78BA1A}" dt="2023-01-25T12:47:34.112" v="35"/>
          <ac:spMkLst>
            <pc:docMk/>
            <pc:sldMk cId="4159142296" sldId="1708"/>
            <ac:spMk id="5" creationId="{13B7F4BE-682D-833F-ADC7-3219943E1105}"/>
          </ac:spMkLst>
        </pc:spChg>
      </pc:sldChg>
      <pc:sldChg chg="addSp delSp modSp mod">
        <pc:chgData name="LuYao Shi" userId="05a88187-dbb6-4b82-ab5c-466bb958c302" providerId="ADAL" clId="{624A38A0-FF77-B74F-9A78-68D9CF78BA1A}" dt="2023-01-25T12:22:55.388" v="10"/>
        <pc:sldMkLst>
          <pc:docMk/>
          <pc:sldMk cId="3635145948" sldId="1909"/>
        </pc:sldMkLst>
        <pc:spChg chg="add del mod">
          <ac:chgData name="LuYao Shi" userId="05a88187-dbb6-4b82-ab5c-466bb958c302" providerId="ADAL" clId="{624A38A0-FF77-B74F-9A78-68D9CF78BA1A}" dt="2023-01-25T12:22:55.388" v="10"/>
          <ac:spMkLst>
            <pc:docMk/>
            <pc:sldMk cId="3635145948" sldId="1909"/>
            <ac:spMk id="2" creationId="{D13E78FA-190E-FA59-4278-E452C6044958}"/>
          </ac:spMkLst>
        </pc:spChg>
        <pc:spChg chg="mod">
          <ac:chgData name="LuYao Shi" userId="05a88187-dbb6-4b82-ab5c-466bb958c302" providerId="ADAL" clId="{624A38A0-FF77-B74F-9A78-68D9CF78BA1A}" dt="2023-01-25T12:19:26.408" v="5" actId="167"/>
          <ac:spMkLst>
            <pc:docMk/>
            <pc:sldMk cId="3635145948" sldId="1909"/>
            <ac:spMk id="50" creationId="{833D87DF-24AF-429F-A562-04EEA9FEDC04}"/>
          </ac:spMkLst>
        </pc:spChg>
        <pc:spChg chg="mod">
          <ac:chgData name="LuYao Shi" userId="05a88187-dbb6-4b82-ab5c-466bb958c302" providerId="ADAL" clId="{624A38A0-FF77-B74F-9A78-68D9CF78BA1A}" dt="2023-01-25T12:19:38.661" v="7" actId="20577"/>
          <ac:spMkLst>
            <pc:docMk/>
            <pc:sldMk cId="3635145948" sldId="1909"/>
            <ac:spMk id="55" creationId="{D52F7C75-696A-410B-A8A2-59A2F6DCD986}"/>
          </ac:spMkLst>
        </pc:spChg>
      </pc:sldChg>
      <pc:sldChg chg="addSp delSp modSp mod modClrScheme chgLayout">
        <pc:chgData name="LuYao Shi" userId="05a88187-dbb6-4b82-ab5c-466bb958c302" providerId="ADAL" clId="{624A38A0-FF77-B74F-9A78-68D9CF78BA1A}" dt="2023-01-25T12:53:54.453" v="76" actId="700"/>
        <pc:sldMkLst>
          <pc:docMk/>
          <pc:sldMk cId="2071078535" sldId="2418"/>
        </pc:sldMkLst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2" creationId="{CC675E93-F4FC-2555-E217-85A3FF7A30E7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3" creationId="{A9C69E15-8E83-ACF5-970E-05056C1D237F}"/>
          </ac:spMkLst>
        </pc:spChg>
        <pc:spChg chg="add del mod ord">
          <ac:chgData name="LuYao Shi" userId="05a88187-dbb6-4b82-ab5c-466bb958c302" providerId="ADAL" clId="{624A38A0-FF77-B74F-9A78-68D9CF78BA1A}" dt="2023-01-25T12:47:59.816" v="52" actId="700"/>
          <ac:spMkLst>
            <pc:docMk/>
            <pc:sldMk cId="2071078535" sldId="2418"/>
            <ac:spMk id="4" creationId="{663A43D8-C2BA-2B0B-EDFB-B9497D193D8A}"/>
          </ac:spMkLst>
        </pc:spChg>
        <pc:spChg chg="add del 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5" creationId="{AC50D1F8-F711-88C1-27BC-1CB7656E6B39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6" creationId="{AE6F3531-468B-A261-A391-91C30993368C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7" creationId="{394C3B2F-7A75-A154-33DC-F5D610D7D449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9" creationId="{302CEC2E-1866-5863-612C-36A8573FF20D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10" creationId="{5F268505-AF60-CA79-8BF5-FF35DF958953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12" creationId="{F03BDB7C-0906-9873-9FDD-379945603C9E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13" creationId="{14C9B5D7-56E6-EE7D-1FE8-E8FA9717853A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15" creationId="{25596AE8-3034-AC6F-8774-27A471BDF7A2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16" creationId="{9FBFEF19-A225-655B-1952-307C787FCB0D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18" creationId="{ADB902FE-68CC-11BA-0B2F-EDCCCC8B5111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19" creationId="{31873A58-013E-8148-0FF0-CA6B730E9C58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21" creationId="{04DD4046-FED2-BF63-A689-392F50D9C827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22" creationId="{ED1B42A1-DEF5-3027-7BA2-76D0E228B357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24" creationId="{A29D334F-0364-112C-D08F-A967FCAA3538}"/>
          </ac:spMkLst>
        </pc:spChg>
        <pc:spChg chg="mod ord">
          <ac:chgData name="LuYao Shi" userId="05a88187-dbb6-4b82-ab5c-466bb958c302" providerId="ADAL" clId="{624A38A0-FF77-B74F-9A78-68D9CF78BA1A}" dt="2023-01-25T12:53:54.453" v="76" actId="700"/>
          <ac:spMkLst>
            <pc:docMk/>
            <pc:sldMk cId="2071078535" sldId="2418"/>
            <ac:spMk id="25" creationId="{0B7DA234-796B-FF81-976F-632A60293880}"/>
          </ac:spMkLst>
        </pc:spChg>
      </pc:sldChg>
      <pc:sldChg chg="addSp delSp modSp add del mod">
        <pc:chgData name="LuYao Shi" userId="05a88187-dbb6-4b82-ab5c-466bb958c302" providerId="ADAL" clId="{624A38A0-FF77-B74F-9A78-68D9CF78BA1A}" dt="2023-01-25T12:56:39.507" v="109" actId="2696"/>
        <pc:sldMkLst>
          <pc:docMk/>
          <pc:sldMk cId="885185680" sldId="2419"/>
        </pc:sldMkLst>
        <pc:spChg chg="add del mod">
          <ac:chgData name="LuYao Shi" userId="05a88187-dbb6-4b82-ab5c-466bb958c302" providerId="ADAL" clId="{624A38A0-FF77-B74F-9A78-68D9CF78BA1A}" dt="2023-01-25T12:38:50.761" v="12" actId="478"/>
          <ac:spMkLst>
            <pc:docMk/>
            <pc:sldMk cId="885185680" sldId="2419"/>
            <ac:spMk id="4" creationId="{2D44185B-5A5C-217B-27E1-D09A312C09C4}"/>
          </ac:spMkLst>
        </pc:spChg>
        <pc:spChg chg="add del mod">
          <ac:chgData name="LuYao Shi" userId="05a88187-dbb6-4b82-ab5c-466bb958c302" providerId="ADAL" clId="{624A38A0-FF77-B74F-9A78-68D9CF78BA1A}" dt="2023-01-25T12:38:57.284" v="14" actId="478"/>
          <ac:spMkLst>
            <pc:docMk/>
            <pc:sldMk cId="885185680" sldId="2419"/>
            <ac:spMk id="6" creationId="{D1F340BA-55E1-04F1-9DC6-04C533E1285A}"/>
          </ac:spMkLst>
        </pc:spChg>
        <pc:spChg chg="add del mod">
          <ac:chgData name="LuYao Shi" userId="05a88187-dbb6-4b82-ab5c-466bb958c302" providerId="ADAL" clId="{624A38A0-FF77-B74F-9A78-68D9CF78BA1A}" dt="2023-01-25T12:39:18.656" v="20"/>
          <ac:spMkLst>
            <pc:docMk/>
            <pc:sldMk cId="885185680" sldId="2419"/>
            <ac:spMk id="10" creationId="{A8566763-79FE-1A6C-86D4-64EA82B0D180}"/>
          </ac:spMkLst>
        </pc:spChg>
        <pc:spChg chg="add del mod">
          <ac:chgData name="LuYao Shi" userId="05a88187-dbb6-4b82-ab5c-466bb958c302" providerId="ADAL" clId="{624A38A0-FF77-B74F-9A78-68D9CF78BA1A}" dt="2023-01-25T12:39:22.771" v="23" actId="47"/>
          <ac:spMkLst>
            <pc:docMk/>
            <pc:sldMk cId="885185680" sldId="2419"/>
            <ac:spMk id="11" creationId="{C32FBA95-C230-15E8-A8F9-C68B8C7FB608}"/>
          </ac:spMkLst>
        </pc:spChg>
        <pc:spChg chg="add del mod">
          <ac:chgData name="LuYao Shi" userId="05a88187-dbb6-4b82-ab5c-466bb958c302" providerId="ADAL" clId="{624A38A0-FF77-B74F-9A78-68D9CF78BA1A}" dt="2023-01-25T12:46:07.942" v="26"/>
          <ac:spMkLst>
            <pc:docMk/>
            <pc:sldMk cId="885185680" sldId="2419"/>
            <ac:spMk id="12" creationId="{0A6EE134-5BE2-A601-DDB8-596336FACDCF}"/>
          </ac:spMkLst>
        </pc:spChg>
        <pc:spChg chg="add del mod">
          <ac:chgData name="LuYao Shi" userId="05a88187-dbb6-4b82-ab5c-466bb958c302" providerId="ADAL" clId="{624A38A0-FF77-B74F-9A78-68D9CF78BA1A}" dt="2023-01-25T12:46:39.639" v="32"/>
          <ac:spMkLst>
            <pc:docMk/>
            <pc:sldMk cId="885185680" sldId="2419"/>
            <ac:spMk id="13" creationId="{DDFB68CE-148C-4927-4B63-3A5173A0C6EA}"/>
          </ac:spMkLst>
        </pc:spChg>
        <pc:spChg chg="add del mod">
          <ac:chgData name="LuYao Shi" userId="05a88187-dbb6-4b82-ab5c-466bb958c302" providerId="ADAL" clId="{624A38A0-FF77-B74F-9A78-68D9CF78BA1A}" dt="2023-01-25T12:46:39.637" v="30"/>
          <ac:spMkLst>
            <pc:docMk/>
            <pc:sldMk cId="885185680" sldId="2419"/>
            <ac:spMk id="14" creationId="{A5F81D5F-A7F0-044D-8A88-FF31B0A8DC99}"/>
          </ac:spMkLst>
        </pc:spChg>
        <pc:grpChg chg="mod">
          <ac:chgData name="LuYao Shi" userId="05a88187-dbb6-4b82-ab5c-466bb958c302" providerId="ADAL" clId="{624A38A0-FF77-B74F-9A78-68D9CF78BA1A}" dt="2023-01-25T12:39:15.145" v="17" actId="1076"/>
          <ac:grpSpMkLst>
            <pc:docMk/>
            <pc:sldMk cId="885185680" sldId="2419"/>
            <ac:grpSpMk id="9" creationId="{00000000-0000-0000-0000-000000000000}"/>
          </ac:grpSpMkLst>
        </pc:grpChg>
      </pc:sldChg>
      <pc:sldChg chg="addSp delSp modSp add del mod">
        <pc:chgData name="LuYao Shi" userId="05a88187-dbb6-4b82-ab5c-466bb958c302" providerId="ADAL" clId="{624A38A0-FF77-B74F-9A78-68D9CF78BA1A}" dt="2023-01-25T13:02:32.394" v="121" actId="2696"/>
        <pc:sldMkLst>
          <pc:docMk/>
          <pc:sldMk cId="4182908794" sldId="2419"/>
        </pc:sldMkLst>
        <pc:spChg chg="add del mod">
          <ac:chgData name="LuYao Shi" userId="05a88187-dbb6-4b82-ab5c-466bb958c302" providerId="ADAL" clId="{624A38A0-FF77-B74F-9A78-68D9CF78BA1A}" dt="2023-01-25T12:57:20.645" v="113" actId="478"/>
          <ac:spMkLst>
            <pc:docMk/>
            <pc:sldMk cId="4182908794" sldId="2419"/>
            <ac:spMk id="4" creationId="{F6E7AB1B-FD23-C773-8B06-F4E9F6B18F0D}"/>
          </ac:spMkLst>
        </pc:spChg>
      </pc:sldChg>
      <pc:sldChg chg="add del">
        <pc:chgData name="LuYao Shi" userId="05a88187-dbb6-4b82-ab5c-466bb958c302" providerId="ADAL" clId="{624A38A0-FF77-B74F-9A78-68D9CF78BA1A}" dt="2023-01-25T13:02:37.520" v="122" actId="2696"/>
        <pc:sldMkLst>
          <pc:docMk/>
          <pc:sldMk cId="2203883252" sldId="2420"/>
        </pc:sldMkLst>
      </pc:sldChg>
      <pc:sldMasterChg chg="addSp delSp modSp mod delSldLayout modSldLayout">
        <pc:chgData name="LuYao Shi" userId="05a88187-dbb6-4b82-ab5c-466bb958c302" providerId="ADAL" clId="{624A38A0-FF77-B74F-9A78-68D9CF78BA1A}" dt="2023-01-25T13:02:37.536" v="123" actId="2696"/>
        <pc:sldMasterMkLst>
          <pc:docMk/>
          <pc:sldMasterMk cId="517910864" sldId="2147483697"/>
        </pc:sldMasterMkLst>
        <pc:spChg chg="mod">
          <ac:chgData name="LuYao Shi" userId="05a88187-dbb6-4b82-ab5c-466bb958c302" providerId="ADAL" clId="{624A38A0-FF77-B74F-9A78-68D9CF78BA1A}" dt="2023-01-25T12:53:22.872" v="59" actId="20577"/>
          <ac:spMkLst>
            <pc:docMk/>
            <pc:sldMasterMk cId="517910864" sldId="2147483697"/>
            <ac:spMk id="4" creationId="{30AC643D-74A8-9041-ABA2-718673C5ED53}"/>
          </ac:spMkLst>
        </pc:spChg>
        <pc:spChg chg="add del mod">
          <ac:chgData name="LuYao Shi" userId="05a88187-dbb6-4b82-ab5c-466bb958c302" providerId="ADAL" clId="{624A38A0-FF77-B74F-9A78-68D9CF78BA1A}" dt="2023-01-25T12:53:10.334" v="54"/>
          <ac:spMkLst>
            <pc:docMk/>
            <pc:sldMasterMk cId="517910864" sldId="2147483697"/>
            <ac:spMk id="6" creationId="{5E6A2A6D-02A3-0B49-EDA2-F94CD404B05B}"/>
          </ac:spMkLst>
        </pc:spChg>
        <pc:spChg chg="add del mod">
          <ac:chgData name="LuYao Shi" userId="05a88187-dbb6-4b82-ab5c-466bb958c302" providerId="ADAL" clId="{624A38A0-FF77-B74F-9A78-68D9CF78BA1A}" dt="2023-01-25T12:53:11.744" v="56"/>
          <ac:spMkLst>
            <pc:docMk/>
            <pc:sldMasterMk cId="517910864" sldId="2147483697"/>
            <ac:spMk id="8" creationId="{C0CBA54D-3588-8643-6205-1F391C85CEA7}"/>
          </ac:spMkLst>
        </pc:spChg>
        <pc:sldLayoutChg chg="delSp mod">
          <pc:chgData name="LuYao Shi" userId="05a88187-dbb6-4b82-ab5c-466bb958c302" providerId="ADAL" clId="{624A38A0-FF77-B74F-9A78-68D9CF78BA1A}" dt="2023-01-25T13:01:29.195" v="115" actId="478"/>
          <pc:sldLayoutMkLst>
            <pc:docMk/>
            <pc:sldMasterMk cId="517910864" sldId="2147483697"/>
            <pc:sldLayoutMk cId="1774837698" sldId="2147483707"/>
          </pc:sldLayoutMkLst>
          <pc:spChg chg="del">
            <ac:chgData name="LuYao Shi" userId="05a88187-dbb6-4b82-ab5c-466bb958c302" providerId="ADAL" clId="{624A38A0-FF77-B74F-9A78-68D9CF78BA1A}" dt="2023-01-25T13:01:29.195" v="115" actId="478"/>
            <ac:spMkLst>
              <pc:docMk/>
              <pc:sldMasterMk cId="517910864" sldId="2147483697"/>
              <pc:sldLayoutMk cId="1774837698" sldId="2147483707"/>
              <ac:spMk id="25" creationId="{075AB377-FA30-CA4D-BDCC-C5CD3F06E86D}"/>
            </ac:spMkLst>
          </pc:spChg>
          <pc:spChg chg="del">
            <ac:chgData name="LuYao Shi" userId="05a88187-dbb6-4b82-ab5c-466bb958c302" providerId="ADAL" clId="{624A38A0-FF77-B74F-9A78-68D9CF78BA1A}" dt="2023-01-25T13:01:25.424" v="114" actId="478"/>
            <ac:spMkLst>
              <pc:docMk/>
              <pc:sldMasterMk cId="517910864" sldId="2147483697"/>
              <pc:sldLayoutMk cId="1774837698" sldId="2147483707"/>
              <ac:spMk id="31" creationId="{80BB9618-5A31-0645-BE67-68734EEB8601}"/>
            </ac:spMkLst>
          </pc:spChg>
        </pc:sldLayoutChg>
        <pc:sldLayoutChg chg="del">
          <pc:chgData name="LuYao Shi" userId="05a88187-dbb6-4b82-ab5c-466bb958c302" providerId="ADAL" clId="{624A38A0-FF77-B74F-9A78-68D9CF78BA1A}" dt="2023-01-25T13:02:37.536" v="123" actId="2696"/>
          <pc:sldLayoutMkLst>
            <pc:docMk/>
            <pc:sldMasterMk cId="517910864" sldId="2147483697"/>
            <pc:sldLayoutMk cId="776515471" sldId="2147483742"/>
          </pc:sldLayoutMkLst>
        </pc:sldLayoutChg>
        <pc:sldLayoutChg chg="modSp del">
          <pc:chgData name="LuYao Shi" userId="05a88187-dbb6-4b82-ab5c-466bb958c302" providerId="ADAL" clId="{624A38A0-FF77-B74F-9A78-68D9CF78BA1A}" dt="2023-01-25T12:56:39.507" v="109" actId="2696"/>
          <pc:sldLayoutMkLst>
            <pc:docMk/>
            <pc:sldMasterMk cId="517910864" sldId="2147483697"/>
            <pc:sldLayoutMk cId="1092841345" sldId="2147483742"/>
          </pc:sldLayoutMkLst>
          <pc:spChg chg="mod">
            <ac:chgData name="LuYao Shi" userId="05a88187-dbb6-4b82-ab5c-466bb958c302" providerId="ADAL" clId="{624A38A0-FF77-B74F-9A78-68D9CF78BA1A}" dt="2023-01-25T12:53:10.334" v="54"/>
            <ac:spMkLst>
              <pc:docMk/>
              <pc:sldMasterMk cId="517910864" sldId="2147483697"/>
              <pc:sldLayoutMk cId="1092841345" sldId="2147483742"/>
              <ac:spMk id="3" creationId="{00000000-0000-0000-0000-000000000000}"/>
            </ac:spMkLst>
          </pc:spChg>
        </pc:sldLayoutChg>
      </pc:sldMasterChg>
      <pc:sldMasterChg chg="addSp delSp modSp mod modSldLayout">
        <pc:chgData name="LuYao Shi" userId="05a88187-dbb6-4b82-ab5c-466bb958c302" providerId="ADAL" clId="{624A38A0-FF77-B74F-9A78-68D9CF78BA1A}" dt="2023-01-25T13:01:50.999" v="117" actId="478"/>
        <pc:sldMasterMkLst>
          <pc:docMk/>
          <pc:sldMasterMk cId="947641752" sldId="2147483716"/>
        </pc:sldMasterMkLst>
        <pc:spChg chg="mod">
          <ac:chgData name="LuYao Shi" userId="05a88187-dbb6-4b82-ab5c-466bb958c302" providerId="ADAL" clId="{624A38A0-FF77-B74F-9A78-68D9CF78BA1A}" dt="2023-01-25T12:54:22.845" v="88" actId="20577"/>
          <ac:spMkLst>
            <pc:docMk/>
            <pc:sldMasterMk cId="947641752" sldId="2147483716"/>
            <ac:spMk id="4" creationId="{30AC643D-74A8-9041-ABA2-718673C5ED53}"/>
          </ac:spMkLst>
        </pc:spChg>
        <pc:spChg chg="add del mod">
          <ac:chgData name="LuYao Shi" userId="05a88187-dbb6-4b82-ab5c-466bb958c302" providerId="ADAL" clId="{624A38A0-FF77-B74F-9A78-68D9CF78BA1A}" dt="2023-01-25T12:54:13.571" v="78"/>
          <ac:spMkLst>
            <pc:docMk/>
            <pc:sldMasterMk cId="947641752" sldId="2147483716"/>
            <ac:spMk id="6" creationId="{FB03D768-FC20-5E6A-5860-7C1C7F7E8FA8}"/>
          </ac:spMkLst>
        </pc:spChg>
        <pc:sldLayoutChg chg="delSp modSp mod">
          <pc:chgData name="LuYao Shi" userId="05a88187-dbb6-4b82-ab5c-466bb958c302" providerId="ADAL" clId="{624A38A0-FF77-B74F-9A78-68D9CF78BA1A}" dt="2023-01-25T13:01:50.999" v="117" actId="478"/>
          <pc:sldLayoutMkLst>
            <pc:docMk/>
            <pc:sldMasterMk cId="947641752" sldId="2147483716"/>
            <pc:sldLayoutMk cId="1435245331" sldId="2147483726"/>
          </pc:sldLayoutMkLst>
          <pc:spChg chg="del">
            <ac:chgData name="LuYao Shi" userId="05a88187-dbb6-4b82-ab5c-466bb958c302" providerId="ADAL" clId="{624A38A0-FF77-B74F-9A78-68D9CF78BA1A}" dt="2023-01-25T13:01:48.659" v="116" actId="478"/>
            <ac:spMkLst>
              <pc:docMk/>
              <pc:sldMasterMk cId="947641752" sldId="2147483716"/>
              <pc:sldLayoutMk cId="1435245331" sldId="2147483726"/>
              <ac:spMk id="25" creationId="{075AB377-FA30-CA4D-BDCC-C5CD3F06E86D}"/>
            </ac:spMkLst>
          </pc:spChg>
          <pc:spChg chg="del mod">
            <ac:chgData name="LuYao Shi" userId="05a88187-dbb6-4b82-ab5c-466bb958c302" providerId="ADAL" clId="{624A38A0-FF77-B74F-9A78-68D9CF78BA1A}" dt="2023-01-25T13:01:50.999" v="117" actId="478"/>
            <ac:spMkLst>
              <pc:docMk/>
              <pc:sldMasterMk cId="947641752" sldId="2147483716"/>
              <pc:sldLayoutMk cId="1435245331" sldId="2147483726"/>
              <ac:spMk id="31" creationId="{80BB9618-5A31-0645-BE67-68734EEB8601}"/>
            </ac:spMkLst>
          </pc:spChg>
        </pc:sldLayoutChg>
      </pc:sldMasterChg>
      <pc:sldMasterChg chg="modSp mod modSldLayout">
        <pc:chgData name="LuYao Shi" userId="05a88187-dbb6-4b82-ab5c-466bb958c302" providerId="ADAL" clId="{624A38A0-FF77-B74F-9A78-68D9CF78BA1A}" dt="2023-01-25T13:02:02.415" v="119" actId="478"/>
        <pc:sldMasterMkLst>
          <pc:docMk/>
          <pc:sldMasterMk cId="2225068038" sldId="2147483729"/>
        </pc:sldMasterMkLst>
        <pc:spChg chg="mod">
          <ac:chgData name="LuYao Shi" userId="05a88187-dbb6-4b82-ab5c-466bb958c302" providerId="ADAL" clId="{624A38A0-FF77-B74F-9A78-68D9CF78BA1A}" dt="2023-01-25T12:54:46.881" v="104" actId="20577"/>
          <ac:spMkLst>
            <pc:docMk/>
            <pc:sldMasterMk cId="2225068038" sldId="2147483729"/>
            <ac:spMk id="4" creationId="{30AC643D-74A8-9041-ABA2-718673C5ED53}"/>
          </ac:spMkLst>
        </pc:spChg>
        <pc:sldLayoutChg chg="delSp modSp mod">
          <pc:chgData name="LuYao Shi" userId="05a88187-dbb6-4b82-ab5c-466bb958c302" providerId="ADAL" clId="{624A38A0-FF77-B74F-9A78-68D9CF78BA1A}" dt="2023-01-25T13:02:02.415" v="119" actId="478"/>
          <pc:sldLayoutMkLst>
            <pc:docMk/>
            <pc:sldMasterMk cId="2225068038" sldId="2147483729"/>
            <pc:sldLayoutMk cId="2609903367" sldId="2147483739"/>
          </pc:sldLayoutMkLst>
          <pc:spChg chg="del">
            <ac:chgData name="LuYao Shi" userId="05a88187-dbb6-4b82-ab5c-466bb958c302" providerId="ADAL" clId="{624A38A0-FF77-B74F-9A78-68D9CF78BA1A}" dt="2023-01-25T13:02:00.706" v="118" actId="478"/>
            <ac:spMkLst>
              <pc:docMk/>
              <pc:sldMasterMk cId="2225068038" sldId="2147483729"/>
              <pc:sldLayoutMk cId="2609903367" sldId="2147483739"/>
              <ac:spMk id="25" creationId="{075AB377-FA30-CA4D-BDCC-C5CD3F06E86D}"/>
            </ac:spMkLst>
          </pc:spChg>
          <pc:spChg chg="del mod">
            <ac:chgData name="LuYao Shi" userId="05a88187-dbb6-4b82-ab5c-466bb958c302" providerId="ADAL" clId="{624A38A0-FF77-B74F-9A78-68D9CF78BA1A}" dt="2023-01-25T13:02:02.415" v="119" actId="478"/>
            <ac:spMkLst>
              <pc:docMk/>
              <pc:sldMasterMk cId="2225068038" sldId="2147483729"/>
              <pc:sldLayoutMk cId="2609903367" sldId="2147483739"/>
              <ac:spMk id="31" creationId="{80BB9618-5A31-0645-BE67-68734EEB8601}"/>
            </ac:spMkLst>
          </pc:spChg>
        </pc:sldLayoutChg>
      </pc:sldMasterChg>
    </pc:docChg>
  </pc:docChgLst>
  <pc:docChgLst>
    <pc:chgData name="LuYao Shi" userId="05a88187-dbb6-4b82-ab5c-466bb958c302" providerId="ADAL" clId="{9CD67858-AA9B-BD4D-9A19-70804847C3C8}"/>
    <pc:docChg chg="undo redo custSel modSld">
      <pc:chgData name="LuYao Shi" userId="05a88187-dbb6-4b82-ab5c-466bb958c302" providerId="ADAL" clId="{9CD67858-AA9B-BD4D-9A19-70804847C3C8}" dt="2023-01-24T09:20:07.206" v="107" actId="113"/>
      <pc:docMkLst>
        <pc:docMk/>
      </pc:docMkLst>
      <pc:sldChg chg="addSp modSp mod">
        <pc:chgData name="LuYao Shi" userId="05a88187-dbb6-4b82-ab5c-466bb958c302" providerId="ADAL" clId="{9CD67858-AA9B-BD4D-9A19-70804847C3C8}" dt="2023-01-24T09:20:07.206" v="107" actId="113"/>
        <pc:sldMkLst>
          <pc:docMk/>
          <pc:sldMk cId="4159142296" sldId="1708"/>
        </pc:sldMkLst>
        <pc:spChg chg="mod">
          <ac:chgData name="LuYao Shi" userId="05a88187-dbb6-4b82-ab5c-466bb958c302" providerId="ADAL" clId="{9CD67858-AA9B-BD4D-9A19-70804847C3C8}" dt="2023-01-24T09:20:07.206" v="107" actId="113"/>
          <ac:spMkLst>
            <pc:docMk/>
            <pc:sldMk cId="4159142296" sldId="1708"/>
            <ac:spMk id="2" creationId="{3C58B058-F9D1-4C28-B9A0-E9EB97F3745A}"/>
          </ac:spMkLst>
        </pc:spChg>
        <pc:spChg chg="mod">
          <ac:chgData name="LuYao Shi" userId="05a88187-dbb6-4b82-ab5c-466bb958c302" providerId="ADAL" clId="{9CD67858-AA9B-BD4D-9A19-70804847C3C8}" dt="2023-01-24T09:15:28.957" v="76" actId="2711"/>
          <ac:spMkLst>
            <pc:docMk/>
            <pc:sldMk cId="4159142296" sldId="1708"/>
            <ac:spMk id="5" creationId="{0478898C-6524-4B6A-8A01-AA56E7269B13}"/>
          </ac:spMkLst>
        </pc:spChg>
        <pc:spChg chg="mod">
          <ac:chgData name="LuYao Shi" userId="05a88187-dbb6-4b82-ab5c-466bb958c302" providerId="ADAL" clId="{9CD67858-AA9B-BD4D-9A19-70804847C3C8}" dt="2023-01-24T09:15:28.957" v="76" actId="2711"/>
          <ac:spMkLst>
            <pc:docMk/>
            <pc:sldMk cId="4159142296" sldId="1708"/>
            <ac:spMk id="12" creationId="{6BE9137F-1F85-4349-950B-EB544AAAD57A}"/>
          </ac:spMkLst>
        </pc:spChg>
        <pc:spChg chg="add mod">
          <ac:chgData name="LuYao Shi" userId="05a88187-dbb6-4b82-ab5c-466bb958c302" providerId="ADAL" clId="{9CD67858-AA9B-BD4D-9A19-70804847C3C8}" dt="2023-01-24T09:15:28.957" v="76" actId="2711"/>
          <ac:spMkLst>
            <pc:docMk/>
            <pc:sldMk cId="4159142296" sldId="1708"/>
            <ac:spMk id="23" creationId="{6E1B1300-1EF4-A8C4-58FD-ED172C5BE8A2}"/>
          </ac:spMkLst>
        </pc:spChg>
        <pc:spChg chg="mod">
          <ac:chgData name="LuYao Shi" userId="05a88187-dbb6-4b82-ab5c-466bb958c302" providerId="ADAL" clId="{9CD67858-AA9B-BD4D-9A19-70804847C3C8}" dt="2023-01-24T09:15:28.957" v="76" actId="2711"/>
          <ac:spMkLst>
            <pc:docMk/>
            <pc:sldMk cId="4159142296" sldId="1708"/>
            <ac:spMk id="29" creationId="{0AE889EA-23A9-418E-A89B-75E962C471E1}"/>
          </ac:spMkLst>
        </pc:spChg>
        <pc:spChg chg="mod">
          <ac:chgData name="LuYao Shi" userId="05a88187-dbb6-4b82-ab5c-466bb958c302" providerId="ADAL" clId="{9CD67858-AA9B-BD4D-9A19-70804847C3C8}" dt="2023-01-24T09:15:28.957" v="76" actId="2711"/>
          <ac:spMkLst>
            <pc:docMk/>
            <pc:sldMk cId="4159142296" sldId="1708"/>
            <ac:spMk id="56" creationId="{ACED796F-B387-994F-94B8-EF159672446D}"/>
          </ac:spMkLst>
        </pc:spChg>
        <pc:spChg chg="mod">
          <ac:chgData name="LuYao Shi" userId="05a88187-dbb6-4b82-ab5c-466bb958c302" providerId="ADAL" clId="{9CD67858-AA9B-BD4D-9A19-70804847C3C8}" dt="2023-01-24T09:15:28.957" v="76" actId="2711"/>
          <ac:spMkLst>
            <pc:docMk/>
            <pc:sldMk cId="4159142296" sldId="1708"/>
            <ac:spMk id="57" creationId="{7E5C3593-941B-924B-BA3E-AD37658B6F66}"/>
          </ac:spMkLst>
        </pc:spChg>
        <pc:grpChg chg="mod">
          <ac:chgData name="LuYao Shi" userId="05a88187-dbb6-4b82-ab5c-466bb958c302" providerId="ADAL" clId="{9CD67858-AA9B-BD4D-9A19-70804847C3C8}" dt="2023-01-24T09:15:28.957" v="76" actId="2711"/>
          <ac:grpSpMkLst>
            <pc:docMk/>
            <pc:sldMk cId="4159142296" sldId="1708"/>
            <ac:grpSpMk id="3" creationId="{90443171-C7B7-FF9B-5F1C-68A63D0F2A29}"/>
          </ac:grpSpMkLst>
        </pc:grpChg>
        <pc:cxnChg chg="add mod">
          <ac:chgData name="LuYao Shi" userId="05a88187-dbb6-4b82-ab5c-466bb958c302" providerId="ADAL" clId="{9CD67858-AA9B-BD4D-9A19-70804847C3C8}" dt="2023-01-24T09:15:28.957" v="76" actId="2711"/>
          <ac:cxnSpMkLst>
            <pc:docMk/>
            <pc:sldMk cId="4159142296" sldId="1708"/>
            <ac:cxnSpMk id="24" creationId="{A62ED057-A882-DC7A-283B-9D31BB4B1903}"/>
          </ac:cxnSpMkLst>
        </pc:cxnChg>
      </pc:sldChg>
      <pc:sldChg chg="modSp mod">
        <pc:chgData name="LuYao Shi" userId="05a88187-dbb6-4b82-ab5c-466bb958c302" providerId="ADAL" clId="{9CD67858-AA9B-BD4D-9A19-70804847C3C8}" dt="2023-01-24T09:19:05.418" v="97" actId="20577"/>
        <pc:sldMkLst>
          <pc:docMk/>
          <pc:sldMk cId="2317522059" sldId="1903"/>
        </pc:sldMkLst>
        <pc:spChg chg="mod">
          <ac:chgData name="LuYao Shi" userId="05a88187-dbb6-4b82-ab5c-466bb958c302" providerId="ADAL" clId="{9CD67858-AA9B-BD4D-9A19-70804847C3C8}" dt="2023-01-24T09:19:05.418" v="97" actId="20577"/>
          <ac:spMkLst>
            <pc:docMk/>
            <pc:sldMk cId="2317522059" sldId="1903"/>
            <ac:spMk id="8" creationId="{7AE75F39-3A69-46E5-A93B-C6603BD94E0B}"/>
          </ac:spMkLst>
        </pc:spChg>
      </pc:sldChg>
      <pc:sldChg chg="addSp delSp modSp mod modClrScheme chgLayout">
        <pc:chgData name="LuYao Shi" userId="05a88187-dbb6-4b82-ab5c-466bb958c302" providerId="ADAL" clId="{9CD67858-AA9B-BD4D-9A19-70804847C3C8}" dt="2023-01-24T09:18:45.234" v="91" actId="403"/>
        <pc:sldMkLst>
          <pc:docMk/>
          <pc:sldMk cId="3635145948" sldId="1909"/>
        </pc:sldMkLst>
        <pc:spChg chg="add del mod">
          <ac:chgData name="LuYao Shi" userId="05a88187-dbb6-4b82-ab5c-466bb958c302" providerId="ADAL" clId="{9CD67858-AA9B-BD4D-9A19-70804847C3C8}" dt="2023-01-24T09:12:40.953" v="73" actId="767"/>
          <ac:spMkLst>
            <pc:docMk/>
            <pc:sldMk cId="3635145948" sldId="1909"/>
            <ac:spMk id="2" creationId="{30C2DB67-B5A9-3662-80C0-52A381D84E4D}"/>
          </ac:spMkLst>
        </pc:spChg>
        <pc:spChg chg="add del mod">
          <ac:chgData name="LuYao Shi" userId="05a88187-dbb6-4b82-ab5c-466bb958c302" providerId="ADAL" clId="{9CD67858-AA9B-BD4D-9A19-70804847C3C8}" dt="2023-01-24T09:12:38.812" v="72" actId="767"/>
          <ac:spMkLst>
            <pc:docMk/>
            <pc:sldMk cId="3635145948" sldId="1909"/>
            <ac:spMk id="4" creationId="{0D210F47-92EE-1A51-4382-DAB0E33C1F5E}"/>
          </ac:spMkLst>
        </pc:spChg>
        <pc:spChg chg="add del mod">
          <ac:chgData name="LuYao Shi" userId="05a88187-dbb6-4b82-ab5c-466bb958c302" providerId="ADAL" clId="{9CD67858-AA9B-BD4D-9A19-70804847C3C8}" dt="2023-01-24T09:12:33.632" v="67" actId="767"/>
          <ac:spMkLst>
            <pc:docMk/>
            <pc:sldMk cId="3635145948" sldId="1909"/>
            <ac:spMk id="7" creationId="{FE34A67B-584E-384C-40E6-78BE68818CC5}"/>
          </ac:spMkLst>
        </pc:spChg>
        <pc:spChg chg="add del mod">
          <ac:chgData name="LuYao Shi" userId="05a88187-dbb6-4b82-ab5c-466bb958c302" providerId="ADAL" clId="{9CD67858-AA9B-BD4D-9A19-70804847C3C8}" dt="2023-01-24T09:12:32.014" v="66" actId="767"/>
          <ac:spMkLst>
            <pc:docMk/>
            <pc:sldMk cId="3635145948" sldId="1909"/>
            <ac:spMk id="8" creationId="{5E63B256-B73B-0C5D-B0AF-2BF373A4F37F}"/>
          </ac:spMkLst>
        </pc:spChg>
        <pc:spChg chg="add del mod ord">
          <ac:chgData name="LuYao Shi" userId="05a88187-dbb6-4b82-ab5c-466bb958c302" providerId="ADAL" clId="{9CD67858-AA9B-BD4D-9A19-70804847C3C8}" dt="2023-01-24T09:11:57.914" v="61" actId="700"/>
          <ac:spMkLst>
            <pc:docMk/>
            <pc:sldMk cId="3635145948" sldId="1909"/>
            <ac:spMk id="9" creationId="{6935E763-D002-CFB8-483C-43D679BEEF84}"/>
          </ac:spMkLst>
        </pc:spChg>
        <pc:spChg chg="add del mod ord">
          <ac:chgData name="LuYao Shi" userId="05a88187-dbb6-4b82-ab5c-466bb958c302" providerId="ADAL" clId="{9CD67858-AA9B-BD4D-9A19-70804847C3C8}" dt="2023-01-24T09:12:29.431" v="65" actId="700"/>
          <ac:spMkLst>
            <pc:docMk/>
            <pc:sldMk cId="3635145948" sldId="1909"/>
            <ac:spMk id="10" creationId="{24466249-E19D-6357-24E4-67E513689467}"/>
          </ac:spMkLst>
        </pc:spChg>
        <pc:spChg chg="mod">
          <ac:chgData name="LuYao Shi" userId="05a88187-dbb6-4b82-ab5c-466bb958c302" providerId="ADAL" clId="{9CD67858-AA9B-BD4D-9A19-70804847C3C8}" dt="2023-01-24T09:12:26.130" v="64" actId="207"/>
          <ac:spMkLst>
            <pc:docMk/>
            <pc:sldMk cId="3635145948" sldId="1909"/>
            <ac:spMk id="50" creationId="{833D87DF-24AF-429F-A562-04EEA9FEDC04}"/>
          </ac:spMkLst>
        </pc:spChg>
        <pc:spChg chg="mod ord">
          <ac:chgData name="LuYao Shi" userId="05a88187-dbb6-4b82-ab5c-466bb958c302" providerId="ADAL" clId="{9CD67858-AA9B-BD4D-9A19-70804847C3C8}" dt="2023-01-24T09:18:45.234" v="91" actId="403"/>
          <ac:spMkLst>
            <pc:docMk/>
            <pc:sldMk cId="3635145948" sldId="1909"/>
            <ac:spMk id="51" creationId="{E7A6D6DA-FD7D-4F09-8A94-C93D19D30BA6}"/>
          </ac:spMkLst>
        </pc:spChg>
        <pc:spChg chg="mod">
          <ac:chgData name="LuYao Shi" userId="05a88187-dbb6-4b82-ab5c-466bb958c302" providerId="ADAL" clId="{9CD67858-AA9B-BD4D-9A19-70804847C3C8}" dt="2023-01-24T09:12:26.130" v="64" actId="207"/>
          <ac:spMkLst>
            <pc:docMk/>
            <pc:sldMk cId="3635145948" sldId="1909"/>
            <ac:spMk id="55" creationId="{D52F7C75-696A-410B-A8A2-59A2F6DCD986}"/>
          </ac:spMkLst>
        </pc:spChg>
        <pc:spChg chg="mod">
          <ac:chgData name="LuYao Shi" userId="05a88187-dbb6-4b82-ab5c-466bb958c302" providerId="ADAL" clId="{9CD67858-AA9B-BD4D-9A19-70804847C3C8}" dt="2023-01-24T09:12:26.130" v="64" actId="207"/>
          <ac:spMkLst>
            <pc:docMk/>
            <pc:sldMk cId="3635145948" sldId="1909"/>
            <ac:spMk id="62" creationId="{98C5B856-E7BC-4406-B88D-BB7009679111}"/>
          </ac:spMkLst>
        </pc:spChg>
        <pc:spChg chg="mod">
          <ac:chgData name="LuYao Shi" userId="05a88187-dbb6-4b82-ab5c-466bb958c302" providerId="ADAL" clId="{9CD67858-AA9B-BD4D-9A19-70804847C3C8}" dt="2023-01-24T09:12:26.130" v="64" actId="207"/>
          <ac:spMkLst>
            <pc:docMk/>
            <pc:sldMk cId="3635145948" sldId="1909"/>
            <ac:spMk id="93" creationId="{69C6764D-7C43-4DB0-8E6D-C077B7C52742}"/>
          </ac:spMkLst>
        </pc:spChg>
        <pc:spChg chg="mod">
          <ac:chgData name="LuYao Shi" userId="05a88187-dbb6-4b82-ab5c-466bb958c302" providerId="ADAL" clId="{9CD67858-AA9B-BD4D-9A19-70804847C3C8}" dt="2023-01-24T09:12:26.130" v="64" actId="207"/>
          <ac:spMkLst>
            <pc:docMk/>
            <pc:sldMk cId="3635145948" sldId="1909"/>
            <ac:spMk id="96" creationId="{CE1C4206-5775-4899-8D67-1D4AF36B218F}"/>
          </ac:spMkLst>
        </pc:spChg>
        <pc:spChg chg="mod">
          <ac:chgData name="LuYao Shi" userId="05a88187-dbb6-4b82-ab5c-466bb958c302" providerId="ADAL" clId="{9CD67858-AA9B-BD4D-9A19-70804847C3C8}" dt="2023-01-24T09:12:26.130" v="64" actId="207"/>
          <ac:spMkLst>
            <pc:docMk/>
            <pc:sldMk cId="3635145948" sldId="1909"/>
            <ac:spMk id="98" creationId="{6F20B841-8037-4C4E-9684-7848660B4612}"/>
          </ac:spMkLst>
        </pc:spChg>
        <pc:spChg chg="mod">
          <ac:chgData name="LuYao Shi" userId="05a88187-dbb6-4b82-ab5c-466bb958c302" providerId="ADAL" clId="{9CD67858-AA9B-BD4D-9A19-70804847C3C8}" dt="2023-01-24T09:12:26.130" v="64" actId="207"/>
          <ac:spMkLst>
            <pc:docMk/>
            <pc:sldMk cId="3635145948" sldId="1909"/>
            <ac:spMk id="99" creationId="{F20ED556-7B48-4B02-B283-B1E76B343965}"/>
          </ac:spMkLst>
        </pc:spChg>
        <pc:spChg chg="mod">
          <ac:chgData name="LuYao Shi" userId="05a88187-dbb6-4b82-ab5c-466bb958c302" providerId="ADAL" clId="{9CD67858-AA9B-BD4D-9A19-70804847C3C8}" dt="2023-01-24T09:12:26.130" v="64" actId="207"/>
          <ac:spMkLst>
            <pc:docMk/>
            <pc:sldMk cId="3635145948" sldId="1909"/>
            <ac:spMk id="103" creationId="{3CD28929-669C-4619-8887-9A92C3D24B21}"/>
          </ac:spMkLst>
        </pc:spChg>
        <pc:spChg chg="mod">
          <ac:chgData name="LuYao Shi" userId="05a88187-dbb6-4b82-ab5c-466bb958c302" providerId="ADAL" clId="{9CD67858-AA9B-BD4D-9A19-70804847C3C8}" dt="2023-01-24T09:12:26.130" v="64" actId="207"/>
          <ac:spMkLst>
            <pc:docMk/>
            <pc:sldMk cId="3635145948" sldId="1909"/>
            <ac:spMk id="105" creationId="{0A5F01E1-B905-4414-A176-ED65D0901192}"/>
          </ac:spMkLst>
        </pc:spChg>
        <pc:grpChg chg="mod">
          <ac:chgData name="LuYao Shi" userId="05a88187-dbb6-4b82-ab5c-466bb958c302" providerId="ADAL" clId="{9CD67858-AA9B-BD4D-9A19-70804847C3C8}" dt="2023-01-24T09:12:26.130" v="64" actId="207"/>
          <ac:grpSpMkLst>
            <pc:docMk/>
            <pc:sldMk cId="3635145948" sldId="1909"/>
            <ac:grpSpMk id="3" creationId="{5DE94B15-FFBC-43BE-AC7B-598AC144F541}"/>
          </ac:grpSpMkLst>
        </pc:grpChg>
        <pc:grpChg chg="mod">
          <ac:chgData name="LuYao Shi" userId="05a88187-dbb6-4b82-ab5c-466bb958c302" providerId="ADAL" clId="{9CD67858-AA9B-BD4D-9A19-70804847C3C8}" dt="2023-01-24T09:12:26.130" v="64" actId="207"/>
          <ac:grpSpMkLst>
            <pc:docMk/>
            <pc:sldMk cId="3635145948" sldId="1909"/>
            <ac:grpSpMk id="5" creationId="{45F15E42-5227-46BA-A973-D0BD78F24558}"/>
          </ac:grpSpMkLst>
        </pc:grpChg>
        <pc:grpChg chg="mod">
          <ac:chgData name="LuYao Shi" userId="05a88187-dbb6-4b82-ab5c-466bb958c302" providerId="ADAL" clId="{9CD67858-AA9B-BD4D-9A19-70804847C3C8}" dt="2023-01-24T09:12:26.130" v="64" actId="207"/>
          <ac:grpSpMkLst>
            <pc:docMk/>
            <pc:sldMk cId="3635145948" sldId="1909"/>
            <ac:grpSpMk id="6" creationId="{ED17167B-5FCB-42D7-97B6-C9DB2A10A646}"/>
          </ac:grpSpMkLst>
        </pc:grpChg>
        <pc:grpChg chg="mod">
          <ac:chgData name="LuYao Shi" userId="05a88187-dbb6-4b82-ab5c-466bb958c302" providerId="ADAL" clId="{9CD67858-AA9B-BD4D-9A19-70804847C3C8}" dt="2023-01-24T09:12:26.130" v="64" actId="207"/>
          <ac:grpSpMkLst>
            <pc:docMk/>
            <pc:sldMk cId="3635145948" sldId="1909"/>
            <ac:grpSpMk id="82" creationId="{C507F0E3-6AE4-4FC1-8349-AF7126D55C97}"/>
          </ac:grpSpMkLst>
        </pc:grpChg>
        <pc:grpChg chg="mod">
          <ac:chgData name="LuYao Shi" userId="05a88187-dbb6-4b82-ab5c-466bb958c302" providerId="ADAL" clId="{9CD67858-AA9B-BD4D-9A19-70804847C3C8}" dt="2023-01-24T09:12:26.130" v="64" actId="207"/>
          <ac:grpSpMkLst>
            <pc:docMk/>
            <pc:sldMk cId="3635145948" sldId="1909"/>
            <ac:grpSpMk id="86" creationId="{AE6CF8E3-55FE-4987-A4FD-28271D5D8880}"/>
          </ac:grpSpMkLst>
        </pc:grpChg>
        <pc:picChg chg="mod">
          <ac:chgData name="LuYao Shi" userId="05a88187-dbb6-4b82-ab5c-466bb958c302" providerId="ADAL" clId="{9CD67858-AA9B-BD4D-9A19-70804847C3C8}" dt="2023-01-24T09:12:26.130" v="64" actId="207"/>
          <ac:picMkLst>
            <pc:docMk/>
            <pc:sldMk cId="3635145948" sldId="1909"/>
            <ac:picMk id="53" creationId="{35742E60-0E09-4449-871F-115240A8F8D8}"/>
          </ac:picMkLst>
        </pc:picChg>
        <pc:picChg chg="mod">
          <ac:chgData name="LuYao Shi" userId="05a88187-dbb6-4b82-ab5c-466bb958c302" providerId="ADAL" clId="{9CD67858-AA9B-BD4D-9A19-70804847C3C8}" dt="2023-01-24T09:12:26.130" v="64" actId="207"/>
          <ac:picMkLst>
            <pc:docMk/>
            <pc:sldMk cId="3635145948" sldId="1909"/>
            <ac:picMk id="54" creationId="{2B90A15B-547D-47A3-B109-0294F84569F1}"/>
          </ac:picMkLst>
        </pc:picChg>
        <pc:picChg chg="mod">
          <ac:chgData name="LuYao Shi" userId="05a88187-dbb6-4b82-ab5c-466bb958c302" providerId="ADAL" clId="{9CD67858-AA9B-BD4D-9A19-70804847C3C8}" dt="2023-01-24T09:12:26.130" v="64" actId="207"/>
          <ac:picMkLst>
            <pc:docMk/>
            <pc:sldMk cId="3635145948" sldId="1909"/>
            <ac:picMk id="97" creationId="{68319CD2-E3F0-4734-ACFE-9520BF802E23}"/>
          </ac:picMkLst>
        </pc:picChg>
        <pc:picChg chg="mod">
          <ac:chgData name="LuYao Shi" userId="05a88187-dbb6-4b82-ab5c-466bb958c302" providerId="ADAL" clId="{9CD67858-AA9B-BD4D-9A19-70804847C3C8}" dt="2023-01-24T09:12:26.130" v="64" actId="207"/>
          <ac:picMkLst>
            <pc:docMk/>
            <pc:sldMk cId="3635145948" sldId="1909"/>
            <ac:picMk id="100" creationId="{AC806127-32E3-4219-970E-02240B343F05}"/>
          </ac:picMkLst>
        </pc:picChg>
      </pc:sldChg>
      <pc:sldChg chg="modSp mod">
        <pc:chgData name="LuYao Shi" userId="05a88187-dbb6-4b82-ab5c-466bb958c302" providerId="ADAL" clId="{9CD67858-AA9B-BD4D-9A19-70804847C3C8}" dt="2023-01-24T09:17:18.474" v="83" actId="404"/>
        <pc:sldMkLst>
          <pc:docMk/>
          <pc:sldMk cId="2678688863" sldId="2230"/>
        </pc:sldMkLst>
        <pc:spChg chg="mod">
          <ac:chgData name="LuYao Shi" userId="05a88187-dbb6-4b82-ab5c-466bb958c302" providerId="ADAL" clId="{9CD67858-AA9B-BD4D-9A19-70804847C3C8}" dt="2023-01-24T09:17:18.474" v="83" actId="404"/>
          <ac:spMkLst>
            <pc:docMk/>
            <pc:sldMk cId="2678688863" sldId="2230"/>
            <ac:spMk id="2" creationId="{3C58B058-F9D1-4C28-B9A0-E9EB97F3745A}"/>
          </ac:spMkLst>
        </pc:spChg>
        <pc:spChg chg="mod">
          <ac:chgData name="LuYao Shi" userId="05a88187-dbb6-4b82-ab5c-466bb958c302" providerId="ADAL" clId="{9CD67858-AA9B-BD4D-9A19-70804847C3C8}" dt="2023-01-24T09:16:55.769" v="79" actId="2711"/>
          <ac:spMkLst>
            <pc:docMk/>
            <pc:sldMk cId="2678688863" sldId="2230"/>
            <ac:spMk id="5" creationId="{0478898C-6524-4B6A-8A01-AA56E7269B13}"/>
          </ac:spMkLst>
        </pc:spChg>
        <pc:spChg chg="mod">
          <ac:chgData name="LuYao Shi" userId="05a88187-dbb6-4b82-ab5c-466bb958c302" providerId="ADAL" clId="{9CD67858-AA9B-BD4D-9A19-70804847C3C8}" dt="2023-01-24T09:17:15.383" v="82" actId="404"/>
          <ac:spMkLst>
            <pc:docMk/>
            <pc:sldMk cId="2678688863" sldId="2230"/>
            <ac:spMk id="6" creationId="{91C8FCAA-8BC7-4184-9BDA-1BF77176695F}"/>
          </ac:spMkLst>
        </pc:spChg>
        <pc:spChg chg="mod">
          <ac:chgData name="LuYao Shi" userId="05a88187-dbb6-4b82-ab5c-466bb958c302" providerId="ADAL" clId="{9CD67858-AA9B-BD4D-9A19-70804847C3C8}" dt="2023-01-24T09:16:55.769" v="79" actId="2711"/>
          <ac:spMkLst>
            <pc:docMk/>
            <pc:sldMk cId="2678688863" sldId="2230"/>
            <ac:spMk id="12" creationId="{6BE9137F-1F85-4349-950B-EB544AAAD57A}"/>
          </ac:spMkLst>
        </pc:spChg>
        <pc:picChg chg="mod">
          <ac:chgData name="LuYao Shi" userId="05a88187-dbb6-4b82-ab5c-466bb958c302" providerId="ADAL" clId="{9CD67858-AA9B-BD4D-9A19-70804847C3C8}" dt="2023-01-24T09:16:55.769" v="79" actId="2711"/>
          <ac:picMkLst>
            <pc:docMk/>
            <pc:sldMk cId="2678688863" sldId="2230"/>
            <ac:picMk id="11" creationId="{00F9B0D5-3D44-4655-A50A-6365321ABFD4}"/>
          </ac:picMkLst>
        </pc:picChg>
        <pc:picChg chg="mod">
          <ac:chgData name="LuYao Shi" userId="05a88187-dbb6-4b82-ab5c-466bb958c302" providerId="ADAL" clId="{9CD67858-AA9B-BD4D-9A19-70804847C3C8}" dt="2023-01-24T09:16:55.769" v="79" actId="2711"/>
          <ac:picMkLst>
            <pc:docMk/>
            <pc:sldMk cId="2678688863" sldId="2230"/>
            <ac:picMk id="14" creationId="{008A6626-6221-470C-B021-3427EA69633E}"/>
          </ac:picMkLst>
        </pc:picChg>
        <pc:picChg chg="mod">
          <ac:chgData name="LuYao Shi" userId="05a88187-dbb6-4b82-ab5c-466bb958c302" providerId="ADAL" clId="{9CD67858-AA9B-BD4D-9A19-70804847C3C8}" dt="2023-01-24T09:16:55.769" v="79" actId="2711"/>
          <ac:picMkLst>
            <pc:docMk/>
            <pc:sldMk cId="2678688863" sldId="2230"/>
            <ac:picMk id="15" creationId="{DDDC8FD5-1E0F-424C-9D7A-EC4ED7051CE1}"/>
          </ac:picMkLst>
        </pc:picChg>
        <pc:picChg chg="mod">
          <ac:chgData name="LuYao Shi" userId="05a88187-dbb6-4b82-ab5c-466bb958c302" providerId="ADAL" clId="{9CD67858-AA9B-BD4D-9A19-70804847C3C8}" dt="2023-01-24T09:16:55.769" v="79" actId="2711"/>
          <ac:picMkLst>
            <pc:docMk/>
            <pc:sldMk cId="2678688863" sldId="2230"/>
            <ac:picMk id="16" creationId="{694FB413-6146-3E40-8B40-059B0C9072F9}"/>
          </ac:picMkLst>
        </pc:picChg>
      </pc:sldChg>
      <pc:sldChg chg="addSp delSp modSp mod">
        <pc:chgData name="LuYao Shi" userId="05a88187-dbb6-4b82-ab5c-466bb958c302" providerId="ADAL" clId="{9CD67858-AA9B-BD4D-9A19-70804847C3C8}" dt="2023-01-24T09:19:26.941" v="101" actId="255"/>
        <pc:sldMkLst>
          <pc:docMk/>
          <pc:sldMk cId="3825137185" sldId="2416"/>
        </pc:sldMkLst>
        <pc:spChg chg="add mod">
          <ac:chgData name="LuYao Shi" userId="05a88187-dbb6-4b82-ab5c-466bb958c302" providerId="ADAL" clId="{9CD67858-AA9B-BD4D-9A19-70804847C3C8}" dt="2023-01-24T09:19:26.941" v="101" actId="255"/>
          <ac:spMkLst>
            <pc:docMk/>
            <pc:sldMk cId="3825137185" sldId="2416"/>
            <ac:spMk id="2" creationId="{C3FEEC07-0B97-3386-D6B3-9147DE4A83B3}"/>
          </ac:spMkLst>
        </pc:spChg>
        <pc:spChg chg="del mod">
          <ac:chgData name="LuYao Shi" userId="05a88187-dbb6-4b82-ab5c-466bb958c302" providerId="ADAL" clId="{9CD67858-AA9B-BD4D-9A19-70804847C3C8}" dt="2023-01-24T09:18:15.099" v="87" actId="478"/>
          <ac:spMkLst>
            <pc:docMk/>
            <pc:sldMk cId="3825137185" sldId="2416"/>
            <ac:spMk id="21" creationId="{6D923F0F-2AE5-6CBC-B490-C2B641F2EA76}"/>
          </ac:spMkLst>
        </pc:spChg>
      </pc:sldChg>
      <pc:sldChg chg="modSp mod">
        <pc:chgData name="LuYao Shi" userId="05a88187-dbb6-4b82-ab5c-466bb958c302" providerId="ADAL" clId="{9CD67858-AA9B-BD4D-9A19-70804847C3C8}" dt="2023-01-24T09:19:18.707" v="100" actId="403"/>
        <pc:sldMkLst>
          <pc:docMk/>
          <pc:sldMk cId="2071078535" sldId="2418"/>
        </pc:sldMkLst>
        <pc:spChg chg="mod">
          <ac:chgData name="LuYao Shi" userId="05a88187-dbb6-4b82-ab5c-466bb958c302" providerId="ADAL" clId="{9CD67858-AA9B-BD4D-9A19-70804847C3C8}" dt="2023-01-24T09:19:18.707" v="100" actId="403"/>
          <ac:spMkLst>
            <pc:docMk/>
            <pc:sldMk cId="2071078535" sldId="2418"/>
            <ac:spMk id="30" creationId="{77560F99-A41F-1E80-3891-96230507DC1D}"/>
          </ac:spMkLst>
        </pc:spChg>
      </pc:sldChg>
    </pc:docChg>
  </pc:docChgLst>
  <pc:docChgLst>
    <pc:chgData name="Jyri Hamalainen" userId="5500e3d8-0ff3-4fd5-9bf5-abf82f8bd457" providerId="ADAL" clId="{3E20266E-EE4D-4196-9BCD-9973407DE8A5}"/>
    <pc:docChg chg="undo custSel delSld modSld">
      <pc:chgData name="Jyri Hamalainen" userId="5500e3d8-0ff3-4fd5-9bf5-abf82f8bd457" providerId="ADAL" clId="{3E20266E-EE4D-4196-9BCD-9973407DE8A5}" dt="2024-01-11T14:43:01.769" v="17" actId="6549"/>
      <pc:docMkLst>
        <pc:docMk/>
      </pc:docMkLst>
      <pc:sldChg chg="modSp mod">
        <pc:chgData name="Jyri Hamalainen" userId="5500e3d8-0ff3-4fd5-9bf5-abf82f8bd457" providerId="ADAL" clId="{3E20266E-EE4D-4196-9BCD-9973407DE8A5}" dt="2024-01-11T14:39:39.929" v="4"/>
        <pc:sldMkLst>
          <pc:docMk/>
          <pc:sldMk cId="4159142296" sldId="1708"/>
        </pc:sldMkLst>
        <pc:spChg chg="mod">
          <ac:chgData name="Jyri Hamalainen" userId="5500e3d8-0ff3-4fd5-9bf5-abf82f8bd457" providerId="ADAL" clId="{3E20266E-EE4D-4196-9BCD-9973407DE8A5}" dt="2024-01-11T14:39:39.929" v="4"/>
          <ac:spMkLst>
            <pc:docMk/>
            <pc:sldMk cId="4159142296" sldId="1708"/>
            <ac:spMk id="6" creationId="{5D64BBBA-237C-C4B2-EFAC-B6C4D99F9459}"/>
          </ac:spMkLst>
        </pc:spChg>
        <pc:spChg chg="mod">
          <ac:chgData name="Jyri Hamalainen" userId="5500e3d8-0ff3-4fd5-9bf5-abf82f8bd457" providerId="ADAL" clId="{3E20266E-EE4D-4196-9BCD-9973407DE8A5}" dt="2024-01-11T14:39:29.449" v="3"/>
          <ac:spMkLst>
            <pc:docMk/>
            <pc:sldMk cId="4159142296" sldId="1708"/>
            <ac:spMk id="13" creationId="{AE29CB78-8A79-FB99-2654-44A2658E30FB}"/>
          </ac:spMkLst>
        </pc:spChg>
      </pc:sldChg>
      <pc:sldChg chg="addSp delSp modSp mod">
        <pc:chgData name="Jyri Hamalainen" userId="5500e3d8-0ff3-4fd5-9bf5-abf82f8bd457" providerId="ADAL" clId="{3E20266E-EE4D-4196-9BCD-9973407DE8A5}" dt="2024-01-11T14:41:00.844" v="15" actId="20577"/>
        <pc:sldMkLst>
          <pc:docMk/>
          <pc:sldMk cId="3635145948" sldId="1909"/>
        </pc:sldMkLst>
        <pc:spChg chg="mod">
          <ac:chgData name="Jyri Hamalainen" userId="5500e3d8-0ff3-4fd5-9bf5-abf82f8bd457" providerId="ADAL" clId="{3E20266E-EE4D-4196-9BCD-9973407DE8A5}" dt="2024-01-11T14:41:00.844" v="15" actId="20577"/>
          <ac:spMkLst>
            <pc:docMk/>
            <pc:sldMk cId="3635145948" sldId="1909"/>
            <ac:spMk id="55" creationId="{D52F7C75-696A-410B-A8A2-59A2F6DCD986}"/>
          </ac:spMkLst>
        </pc:spChg>
        <pc:picChg chg="add mod">
          <ac:chgData name="Jyri Hamalainen" userId="5500e3d8-0ff3-4fd5-9bf5-abf82f8bd457" providerId="ADAL" clId="{3E20266E-EE4D-4196-9BCD-9973407DE8A5}" dt="2024-01-11T14:40:27.924" v="8"/>
          <ac:picMkLst>
            <pc:docMk/>
            <pc:sldMk cId="3635145948" sldId="1909"/>
            <ac:picMk id="2" creationId="{5063342C-7791-8214-8A6A-B1897653DFB4}"/>
          </ac:picMkLst>
        </pc:picChg>
        <pc:picChg chg="add mod">
          <ac:chgData name="Jyri Hamalainen" userId="5500e3d8-0ff3-4fd5-9bf5-abf82f8bd457" providerId="ADAL" clId="{3E20266E-EE4D-4196-9BCD-9973407DE8A5}" dt="2024-01-11T14:40:44.152" v="13" actId="14100"/>
          <ac:picMkLst>
            <pc:docMk/>
            <pc:sldMk cId="3635145948" sldId="1909"/>
            <ac:picMk id="4" creationId="{F6360FEF-D119-637C-3FC1-CF57E6F0BBF7}"/>
          </ac:picMkLst>
        </pc:picChg>
        <pc:picChg chg="del">
          <ac:chgData name="Jyri Hamalainen" userId="5500e3d8-0ff3-4fd5-9bf5-abf82f8bd457" providerId="ADAL" clId="{3E20266E-EE4D-4196-9BCD-9973407DE8A5}" dt="2024-01-11T14:40:38.931" v="10" actId="478"/>
          <ac:picMkLst>
            <pc:docMk/>
            <pc:sldMk cId="3635145948" sldId="1909"/>
            <ac:picMk id="97" creationId="{68319CD2-E3F0-4734-ACFE-9520BF802E23}"/>
          </ac:picMkLst>
        </pc:picChg>
        <pc:picChg chg="add del">
          <ac:chgData name="Jyri Hamalainen" userId="5500e3d8-0ff3-4fd5-9bf5-abf82f8bd457" providerId="ADAL" clId="{3E20266E-EE4D-4196-9BCD-9973407DE8A5}" dt="2024-01-11T14:40:32.387" v="9" actId="478"/>
          <ac:picMkLst>
            <pc:docMk/>
            <pc:sldMk cId="3635145948" sldId="1909"/>
            <ac:picMk id="100" creationId="{AC806127-32E3-4219-970E-02240B343F05}"/>
          </ac:picMkLst>
        </pc:picChg>
      </pc:sldChg>
      <pc:sldChg chg="mod modShow">
        <pc:chgData name="Jyri Hamalainen" userId="5500e3d8-0ff3-4fd5-9bf5-abf82f8bd457" providerId="ADAL" clId="{3E20266E-EE4D-4196-9BCD-9973407DE8A5}" dt="2024-01-11T14:41:45.764" v="16" actId="729"/>
        <pc:sldMkLst>
          <pc:docMk/>
          <pc:sldMk cId="3825137185" sldId="2416"/>
        </pc:sldMkLst>
      </pc:sldChg>
      <pc:sldChg chg="del">
        <pc:chgData name="Jyri Hamalainen" userId="5500e3d8-0ff3-4fd5-9bf5-abf82f8bd457" providerId="ADAL" clId="{3E20266E-EE4D-4196-9BCD-9973407DE8A5}" dt="2024-01-11T14:37:29.590" v="0" actId="47"/>
        <pc:sldMkLst>
          <pc:docMk/>
          <pc:sldMk cId="2071078535" sldId="2418"/>
        </pc:sldMkLst>
      </pc:sldChg>
      <pc:sldChg chg="modSp mod">
        <pc:chgData name="Jyri Hamalainen" userId="5500e3d8-0ff3-4fd5-9bf5-abf82f8bd457" providerId="ADAL" clId="{3E20266E-EE4D-4196-9BCD-9973407DE8A5}" dt="2024-01-11T14:43:01.769" v="17" actId="6549"/>
        <pc:sldMkLst>
          <pc:docMk/>
          <pc:sldMk cId="1173213692" sldId="3296"/>
        </pc:sldMkLst>
        <pc:spChg chg="mod">
          <ac:chgData name="Jyri Hamalainen" userId="5500e3d8-0ff3-4fd5-9bf5-abf82f8bd457" providerId="ADAL" clId="{3E20266E-EE4D-4196-9BCD-9973407DE8A5}" dt="2024-01-11T14:43:01.769" v="17" actId="6549"/>
          <ac:spMkLst>
            <pc:docMk/>
            <pc:sldMk cId="1173213692" sldId="3296"/>
            <ac:spMk id="22" creationId="{9B9A52A1-981B-CED4-93C4-6F467EED9BFF}"/>
          </ac:spMkLst>
        </pc:spChg>
      </pc:sldChg>
      <pc:sldChg chg="delSp modSp mod">
        <pc:chgData name="Jyri Hamalainen" userId="5500e3d8-0ff3-4fd5-9bf5-abf82f8bd457" providerId="ADAL" clId="{3E20266E-EE4D-4196-9BCD-9973407DE8A5}" dt="2024-01-11T14:37:45.030" v="2" actId="478"/>
        <pc:sldMkLst>
          <pc:docMk/>
          <pc:sldMk cId="2260339009" sldId="3385"/>
        </pc:sldMkLst>
        <pc:spChg chg="del mod">
          <ac:chgData name="Jyri Hamalainen" userId="5500e3d8-0ff3-4fd5-9bf5-abf82f8bd457" providerId="ADAL" clId="{3E20266E-EE4D-4196-9BCD-9973407DE8A5}" dt="2024-01-11T14:37:45.030" v="2" actId="478"/>
          <ac:spMkLst>
            <pc:docMk/>
            <pc:sldMk cId="2260339009" sldId="3385"/>
            <ac:spMk id="105" creationId="{3E3E948D-22ED-3DFD-E0BC-80DAAE746DD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Roboto" panose="02000000000000000000" pitchFamily="2" charset="0"/>
              </a:defRPr>
            </a:lvl1pPr>
          </a:lstStyle>
          <a:p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Roboto" panose="02000000000000000000" pitchFamily="2" charset="0"/>
              </a:defRPr>
            </a:lvl1pPr>
          </a:lstStyle>
          <a:p>
            <a:fld id="{C1E644D3-0A7F-4D46-9B08-17CE7EDC9B97}" type="datetimeFigureOut">
              <a:rPr lang="fi-FI" smtClean="0"/>
              <a:pPr/>
              <a:t>11.1.2024</a:t>
            </a:fld>
            <a:endParaRPr lang="fi-FI" dirty="0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 dirty="0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Roboto" panose="02000000000000000000" pitchFamily="2" charset="0"/>
              </a:defRPr>
            </a:lvl1pPr>
          </a:lstStyle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Roboto" panose="02000000000000000000" pitchFamily="2" charset="0"/>
              </a:defRPr>
            </a:lvl1pPr>
          </a:lstStyle>
          <a:p>
            <a:fld id="{C5B1ED92-7BD6-429F-89F4-A2B77C1E2DA0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662261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Roboto" panose="02000000000000000000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Roboto" panose="02000000000000000000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Roboto" panose="02000000000000000000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Roboto" panose="02000000000000000000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Roboto" panose="02000000000000000000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fter 2021 is described in our roadmap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B1ED92-7BD6-429F-89F4-A2B77C1E2DA0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2700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B1ED92-7BD6-429F-89F4-A2B77C1E2DA0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71561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B1ED92-7BD6-429F-89F4-A2B77C1E2DA0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Medium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Medium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95691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B1ED92-7BD6-429F-89F4-A2B77C1E2DA0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Medium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Medium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62756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- 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6234FB49-9D02-DE41-8440-B23FE5E2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084212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Sisällön paikkamerkki 2">
            <a:extLst>
              <a:ext uri="{FF2B5EF4-FFF2-40B4-BE49-F238E27FC236}">
                <a16:creationId xmlns:a16="http://schemas.microsoft.com/office/drawing/2014/main" id="{5E9389AD-2668-514C-BCA0-2637F290DF06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99593" y="1701801"/>
            <a:ext cx="7110314" cy="281662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539987" indent="-107997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17295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er 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 hasCustomPrompt="1"/>
          </p:nvPr>
        </p:nvSpPr>
        <p:spPr>
          <a:xfrm>
            <a:off x="900113" y="1627705"/>
            <a:ext cx="2254338" cy="1270473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46" indent="-171446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Sisällön paikkamerkki 2">
            <a:extLst>
              <a:ext uri="{FF2B5EF4-FFF2-40B4-BE49-F238E27FC236}">
                <a16:creationId xmlns:a16="http://schemas.microsoft.com/office/drawing/2014/main" id="{FA32DFF2-BD39-B743-BE1B-8725DE77791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305382" y="1627705"/>
            <a:ext cx="2482939" cy="1270473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46" indent="-171446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Sisällön paikkamerkki 2">
            <a:extLst>
              <a:ext uri="{FF2B5EF4-FFF2-40B4-BE49-F238E27FC236}">
                <a16:creationId xmlns:a16="http://schemas.microsoft.com/office/drawing/2014/main" id="{3DD24FFD-9490-B14C-8AC4-DC7FDC6080A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900113" y="3163302"/>
            <a:ext cx="2254338" cy="914768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46" indent="-171446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Sisällön paikkamerkki 2">
            <a:extLst>
              <a:ext uri="{FF2B5EF4-FFF2-40B4-BE49-F238E27FC236}">
                <a16:creationId xmlns:a16="http://schemas.microsoft.com/office/drawing/2014/main" id="{0224A612-F788-FB4B-8E66-7E818F5690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05382" y="3163302"/>
            <a:ext cx="2482939" cy="914768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46" indent="-171446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Sisällön paikkamerkki 2">
            <a:extLst>
              <a:ext uri="{FF2B5EF4-FFF2-40B4-BE49-F238E27FC236}">
                <a16:creationId xmlns:a16="http://schemas.microsoft.com/office/drawing/2014/main" id="{2E7079A5-0FA8-5742-ACBB-2F365C5D4B1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930706" y="1627705"/>
            <a:ext cx="2885473" cy="2450364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46" indent="-171446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522D373-F15B-7945-A09D-7002ED422606}"/>
              </a:ext>
            </a:extLst>
          </p:cNvPr>
          <p:cNvGrpSpPr/>
          <p:nvPr userDrawn="1"/>
        </p:nvGrpSpPr>
        <p:grpSpPr>
          <a:xfrm>
            <a:off x="900113" y="1370124"/>
            <a:ext cx="2254338" cy="276999"/>
            <a:chOff x="886427" y="1590261"/>
            <a:chExt cx="2254338" cy="27699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8CA8D17-2432-074A-B244-0465E7F5D011}"/>
                </a:ext>
              </a:extLst>
            </p:cNvPr>
            <p:cNvSpPr txBox="1"/>
            <p:nvPr userDrawn="1"/>
          </p:nvSpPr>
          <p:spPr>
            <a:xfrm>
              <a:off x="886427" y="1590261"/>
              <a:ext cx="1585663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Key </a:t>
              </a:r>
              <a:r>
                <a:rPr lang="en-US" sz="1200" b="0" i="0" noProof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businesses</a:t>
              </a:r>
              <a:r>
                <a:rPr lang="en-US" sz="1200" b="0" i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: 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9752BF6-EBAA-984C-8163-2C4A82017E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86427" y="1827959"/>
              <a:ext cx="2254338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C490A09-8E0E-354C-BC24-2000EBED6F24}"/>
              </a:ext>
            </a:extLst>
          </p:cNvPr>
          <p:cNvGrpSpPr/>
          <p:nvPr userDrawn="1"/>
        </p:nvGrpSpPr>
        <p:grpSpPr>
          <a:xfrm>
            <a:off x="3295444" y="1370130"/>
            <a:ext cx="2254338" cy="276999"/>
            <a:chOff x="3281758" y="1590261"/>
            <a:chExt cx="2254338" cy="276999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EFC348D-2280-8649-80FC-9853A12A6159}"/>
                </a:ext>
              </a:extLst>
            </p:cNvPr>
            <p:cNvSpPr txBox="1"/>
            <p:nvPr userDrawn="1"/>
          </p:nvSpPr>
          <p:spPr>
            <a:xfrm>
              <a:off x="3294095" y="1590261"/>
              <a:ext cx="1388522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Why Emberion: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BA21A42-D780-9C4E-9AE6-F2B82A7AC9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281758" y="1827959"/>
              <a:ext cx="2254338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921968-7B3F-1E44-8025-E45CB40FB413}"/>
              </a:ext>
            </a:extLst>
          </p:cNvPr>
          <p:cNvGrpSpPr/>
          <p:nvPr userDrawn="1"/>
        </p:nvGrpSpPr>
        <p:grpSpPr>
          <a:xfrm>
            <a:off x="900113" y="2917613"/>
            <a:ext cx="2254338" cy="276999"/>
            <a:chOff x="886427" y="3137742"/>
            <a:chExt cx="2254338" cy="27699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E899BFA-EB6A-BA4F-BA24-AAC0AEFB609E}"/>
                </a:ext>
              </a:extLst>
            </p:cNvPr>
            <p:cNvSpPr txBox="1"/>
            <p:nvPr userDrawn="1"/>
          </p:nvSpPr>
          <p:spPr>
            <a:xfrm>
              <a:off x="886427" y="3137742"/>
              <a:ext cx="1603324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 noProof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Company profile: 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E38DC18-3D13-684A-AC5A-89FCBEB25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86427" y="3363554"/>
              <a:ext cx="2254338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C473A63-A7A9-1B4A-8135-A9263C0C40A8}"/>
              </a:ext>
            </a:extLst>
          </p:cNvPr>
          <p:cNvGrpSpPr/>
          <p:nvPr userDrawn="1"/>
        </p:nvGrpSpPr>
        <p:grpSpPr>
          <a:xfrm>
            <a:off x="3295444" y="2917607"/>
            <a:ext cx="2254338" cy="276999"/>
            <a:chOff x="3281758" y="3137741"/>
            <a:chExt cx="2254338" cy="276999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D983FEE-499E-6F4A-BFA9-BF26D6E40EB1}"/>
                </a:ext>
              </a:extLst>
            </p:cNvPr>
            <p:cNvSpPr txBox="1"/>
            <p:nvPr userDrawn="1"/>
          </p:nvSpPr>
          <p:spPr>
            <a:xfrm>
              <a:off x="3294095" y="3137741"/>
              <a:ext cx="1314784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 noProof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Collaboration: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A0639D36-70DA-584C-9F06-39D5D88F0F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281758" y="3363554"/>
              <a:ext cx="2254338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0344D9E-F9DE-8A4B-836C-4C45BC9E3CC9}"/>
              </a:ext>
            </a:extLst>
          </p:cNvPr>
          <p:cNvGrpSpPr/>
          <p:nvPr userDrawn="1"/>
        </p:nvGrpSpPr>
        <p:grpSpPr>
          <a:xfrm>
            <a:off x="5925565" y="1370130"/>
            <a:ext cx="3070269" cy="276999"/>
            <a:chOff x="5925564" y="1590261"/>
            <a:chExt cx="3070269" cy="27699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9D4BD9A-C8D3-B043-BEA0-D6ACC6CB5A9B}"/>
                </a:ext>
              </a:extLst>
            </p:cNvPr>
            <p:cNvSpPr txBox="1"/>
            <p:nvPr userDrawn="1"/>
          </p:nvSpPr>
          <p:spPr>
            <a:xfrm>
              <a:off x="5925564" y="1590261"/>
              <a:ext cx="3070269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Examples of potential product integration: </a:t>
              </a: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679AEE7-ECAF-1F4E-A8FD-9C242E42BCF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25737" y="1827959"/>
              <a:ext cx="2890441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Otsikko 1">
            <a:extLst>
              <a:ext uri="{FF2B5EF4-FFF2-40B4-BE49-F238E27FC236}">
                <a16:creationId xmlns:a16="http://schemas.microsoft.com/office/drawing/2014/main" id="{6FF66E7A-3DEB-7D4E-B8A4-C974DD714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36D0E98-84F5-A94B-88CE-6147AFE9988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16102" y="4677834"/>
            <a:ext cx="1231899" cy="337892"/>
          </a:xfrm>
        </p:spPr>
        <p:txBody>
          <a:bodyPr/>
          <a:lstStyle/>
          <a:p>
            <a:endParaRPr lang="fi-FI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A089840-6AB6-3348-9675-6E92C39A0E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5734" y="4858326"/>
            <a:ext cx="614437" cy="94529"/>
          </a:xfrm>
          <a:prstGeom prst="rect">
            <a:avLst/>
          </a:prstGeom>
        </p:spPr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B5B0AD6-FA62-5D42-BC4B-CBCD0A0141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19333" y="4791257"/>
            <a:ext cx="1575330" cy="263343"/>
          </a:xfrm>
        </p:spPr>
        <p:txBody>
          <a:bodyPr/>
          <a:lstStyle>
            <a:lvl1pPr algn="r"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7483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0B8B49-D585-1B49-B02F-C2DA0FE7A3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2760133"/>
            <a:ext cx="6858000" cy="1260475"/>
          </a:xfrm>
        </p:spPr>
        <p:txBody>
          <a:bodyPr anchor="t" anchorCtr="0">
            <a:normAutofit/>
          </a:bodyPr>
          <a:lstStyle>
            <a:lvl1pPr algn="ctr">
              <a:defRPr sz="3600"/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8053F0-9C37-254C-B1A6-F08D6AD0E8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4106334"/>
            <a:ext cx="6858000" cy="637547"/>
          </a:xfrm>
        </p:spPr>
        <p:txBody>
          <a:bodyPr>
            <a:normAutofit/>
          </a:bodyPr>
          <a:lstStyle>
            <a:lvl1pPr marL="0" indent="0" algn="ctr">
              <a:lnSpc>
                <a:spcPct val="110000"/>
              </a:lnSpc>
              <a:buNone/>
              <a:defRPr sz="1000"/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58996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30346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/>
              <a:t>Click to edit Master title style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6624000" y="4608000"/>
            <a:ext cx="1800000" cy="360000"/>
          </a:xfrm>
        </p:spPr>
        <p:txBody>
          <a:bodyPr lIns="0" tIns="0" rIns="0" bIns="0"/>
          <a:lstStyle>
            <a:lvl1pPr algn="r">
              <a:defRPr sz="1000" b="0" i="0">
                <a:latin typeface="Roboto" panose="02000000000000000000" pitchFamily="2" charset="0"/>
              </a:defRPr>
            </a:lvl1pPr>
          </a:lstStyle>
          <a:p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8424000" y="4788000"/>
            <a:ext cx="540000" cy="180000"/>
          </a:xfrm>
        </p:spPr>
        <p:txBody>
          <a:bodyPr lIns="0" tIns="0" rIns="0" bIns="0"/>
          <a:lstStyle>
            <a:lvl1pPr>
              <a:defRPr sz="1000" b="0" i="0">
                <a:latin typeface="Roboto" panose="02000000000000000000" pitchFamily="2" charset="0"/>
              </a:defRPr>
            </a:lvl1pPr>
          </a:lstStyle>
          <a:p>
            <a:fld id="{F742C6BC-3362-4625-BA5D-F4AEE97F692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8900289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C6BC-3362-4625-BA5D-F4AEE97F692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313149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C6BC-3362-4625-BA5D-F4AEE97F692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476629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C6BC-3362-4625-BA5D-F4AEE97F692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379238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2C6BC-3362-4625-BA5D-F4AEE97F692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429632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- 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6234FB49-9D02-DE41-8440-B23FE5E2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084212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Sisällön paikkamerkki 2">
            <a:extLst>
              <a:ext uri="{FF2B5EF4-FFF2-40B4-BE49-F238E27FC236}">
                <a16:creationId xmlns:a16="http://schemas.microsoft.com/office/drawing/2014/main" id="{5E9389AD-2668-514C-BCA0-2637F290DF06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99592" y="1701800"/>
            <a:ext cx="7110314" cy="281662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540000" indent="-108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8304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Slide - 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6234FB49-9D02-DE41-8440-B23FE5E2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592" y="231377"/>
            <a:ext cx="7084212" cy="244873"/>
          </a:xfrm>
        </p:spPr>
        <p:txBody>
          <a:bodyPr lIns="90000" anchor="t" anchorCtr="0">
            <a:noAutofit/>
          </a:bodyPr>
          <a:lstStyle>
            <a:lvl1pPr>
              <a:defRPr sz="1400" b="0" i="0">
                <a:solidFill>
                  <a:srgbClr val="DCDCDC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Sisällön paikkamerkki 2">
            <a:extLst>
              <a:ext uri="{FF2B5EF4-FFF2-40B4-BE49-F238E27FC236}">
                <a16:creationId xmlns:a16="http://schemas.microsoft.com/office/drawing/2014/main" id="{5E9389AD-2668-514C-BCA0-2637F290DF06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99592" y="889000"/>
            <a:ext cx="7110314" cy="362942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solidFill>
                  <a:schemeClr val="bg1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540000" indent="-108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bg1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73CA2A-534A-4693-9A76-75AD864215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99592" y="527050"/>
            <a:ext cx="7084212" cy="311150"/>
          </a:xfrm>
        </p:spPr>
        <p:txBody>
          <a:bodyPr>
            <a:noAutofit/>
          </a:bodyPr>
          <a:lstStyle>
            <a:lvl1pPr>
              <a:buNone/>
              <a:defRPr sz="1400">
                <a:solidFill>
                  <a:srgbClr val="FF7F00"/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1037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Slide - 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6234FB49-9D02-DE41-8440-B23FE5E2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592" y="231378"/>
            <a:ext cx="7084212" cy="244873"/>
          </a:xfrm>
        </p:spPr>
        <p:txBody>
          <a:bodyPr lIns="90000" anchor="t" anchorCtr="0">
            <a:noAutofit/>
          </a:bodyPr>
          <a:lstStyle>
            <a:lvl1pPr>
              <a:defRPr sz="1400" b="0" i="0">
                <a:solidFill>
                  <a:srgbClr val="DCDCDC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Sisällön paikkamerkki 2">
            <a:extLst>
              <a:ext uri="{FF2B5EF4-FFF2-40B4-BE49-F238E27FC236}">
                <a16:creationId xmlns:a16="http://schemas.microsoft.com/office/drawing/2014/main" id="{5E9389AD-2668-514C-BCA0-2637F290DF06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99593" y="889001"/>
            <a:ext cx="7110314" cy="362942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solidFill>
                  <a:schemeClr val="bg1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539987" indent="-107997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bg1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73CA2A-534A-4693-9A76-75AD864215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99592" y="527050"/>
            <a:ext cx="7084212" cy="311150"/>
          </a:xfrm>
        </p:spPr>
        <p:txBody>
          <a:bodyPr>
            <a:noAutofit/>
          </a:bodyPr>
          <a:lstStyle>
            <a:lvl1pPr>
              <a:buNone/>
              <a:defRPr sz="1400">
                <a:solidFill>
                  <a:srgbClr val="FF7F00"/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144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Slide - 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6234FB49-9D02-DE41-8440-B23FE5E2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084212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Sisällön paikkamerkki 2">
            <a:extLst>
              <a:ext uri="{FF2B5EF4-FFF2-40B4-BE49-F238E27FC236}">
                <a16:creationId xmlns:a16="http://schemas.microsoft.com/office/drawing/2014/main" id="{30F6738B-6929-9949-BE41-B8ED6643F09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04088" y="1701800"/>
            <a:ext cx="3638279" cy="2816623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42544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Slide - Header + 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6234FB49-9D02-DE41-8440-B23FE5E2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7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C2FBFAF0-A693-604F-8DDD-4E26EB2945A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49717" y="1701800"/>
            <a:ext cx="3653449" cy="281662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540000" indent="-108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isällön paikkamerkki 2">
            <a:extLst>
              <a:ext uri="{FF2B5EF4-FFF2-40B4-BE49-F238E27FC236}">
                <a16:creationId xmlns:a16="http://schemas.microsoft.com/office/drawing/2014/main" id="{3461C88D-D2DE-034A-907B-4DAFE52DC5C7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99592" y="1701800"/>
            <a:ext cx="3653449" cy="281662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540000" indent="-108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6596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Slide - Header + 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isällön paikkamerkki 2">
            <a:extLst>
              <a:ext uri="{FF2B5EF4-FFF2-40B4-BE49-F238E27FC236}">
                <a16:creationId xmlns:a16="http://schemas.microsoft.com/office/drawing/2014/main" id="{952F93AB-A726-0F4B-8F4F-26BDE3F4EE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04087" y="3738666"/>
            <a:ext cx="2491550" cy="1069044"/>
          </a:xfrm>
        </p:spPr>
        <p:txBody>
          <a:bodyPr lIns="0" tIns="0" rIns="0" bIns="0">
            <a:normAutofit/>
          </a:bodyPr>
          <a:lstStyle>
            <a:lvl1pPr marL="108000" indent="-108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Sisällön paikkamerkki 2">
            <a:extLst>
              <a:ext uri="{FF2B5EF4-FFF2-40B4-BE49-F238E27FC236}">
                <a16:creationId xmlns:a16="http://schemas.microsoft.com/office/drawing/2014/main" id="{DA28DB8B-84B2-BA45-918B-F12F2B96D1BF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904087" y="2225731"/>
            <a:ext cx="2139100" cy="211025"/>
          </a:xfrm>
        </p:spPr>
        <p:txBody>
          <a:bodyPr lIns="0" tIns="0" rIns="0" bIns="0">
            <a:normAutofit/>
          </a:bodyPr>
          <a:lstStyle>
            <a:lvl1pPr marL="0" indent="0">
              <a:spcAft>
                <a:spcPts val="600"/>
              </a:spcAft>
              <a:buNone/>
              <a:defRPr sz="12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isällön paikkamerkki 2">
            <a:extLst>
              <a:ext uri="{FF2B5EF4-FFF2-40B4-BE49-F238E27FC236}">
                <a16:creationId xmlns:a16="http://schemas.microsoft.com/office/drawing/2014/main" id="{8D613E31-EAC0-CE41-BE09-ECCEED39F1FA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3498020" y="2225731"/>
            <a:ext cx="2136291" cy="211025"/>
          </a:xfrm>
        </p:spPr>
        <p:txBody>
          <a:bodyPr lIns="0" tIns="0" rIns="0" bIns="0">
            <a:normAutofit/>
          </a:bodyPr>
          <a:lstStyle>
            <a:lvl1pPr marL="0" indent="0">
              <a:spcAft>
                <a:spcPts val="600"/>
              </a:spcAft>
              <a:buNone/>
              <a:defRPr sz="12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8000" indent="-108000">
              <a:lnSpc>
                <a:spcPct val="120000"/>
              </a:lnSpc>
              <a:spcBef>
                <a:spcPts val="24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04B617F6-5CC1-4C43-B007-62E99877D232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6088365" y="2225731"/>
            <a:ext cx="2136291" cy="211025"/>
          </a:xfrm>
        </p:spPr>
        <p:txBody>
          <a:bodyPr lIns="0" tIns="0" rIns="0" bIns="0">
            <a:normAutofit/>
          </a:bodyPr>
          <a:lstStyle>
            <a:lvl1pPr marL="0" indent="0">
              <a:spcAft>
                <a:spcPts val="600"/>
              </a:spcAft>
              <a:buNone/>
              <a:defRPr sz="12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8000" indent="-108000">
              <a:lnSpc>
                <a:spcPct val="120000"/>
              </a:lnSpc>
              <a:spcBef>
                <a:spcPts val="24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isällön paikkamerkki 2">
            <a:extLst>
              <a:ext uri="{FF2B5EF4-FFF2-40B4-BE49-F238E27FC236}">
                <a16:creationId xmlns:a16="http://schemas.microsoft.com/office/drawing/2014/main" id="{694AB77B-71E2-5949-8B93-460D291AEC8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495210" y="3738666"/>
            <a:ext cx="2495345" cy="1069044"/>
          </a:xfrm>
        </p:spPr>
        <p:txBody>
          <a:bodyPr lIns="0" tIns="0" rIns="0" bIns="0">
            <a:normAutofit/>
          </a:bodyPr>
          <a:lstStyle>
            <a:lvl1pPr marL="108000" indent="-108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isällön paikkamerkki 2">
            <a:extLst>
              <a:ext uri="{FF2B5EF4-FFF2-40B4-BE49-F238E27FC236}">
                <a16:creationId xmlns:a16="http://schemas.microsoft.com/office/drawing/2014/main" id="{E250AB0D-415C-2C49-989D-6EBC34EBE57D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088366" y="3738666"/>
            <a:ext cx="2139100" cy="1069044"/>
          </a:xfrm>
        </p:spPr>
        <p:txBody>
          <a:bodyPr lIns="0" tIns="0" rIns="0" bIns="0">
            <a:normAutofit/>
          </a:bodyPr>
          <a:lstStyle>
            <a:lvl1pPr marL="108000" indent="-108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8000" marR="0" indent="-108000" algn="l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6D1ECE8-317D-D94A-9032-B38292F8ACF6}"/>
              </a:ext>
            </a:extLst>
          </p:cNvPr>
          <p:cNvCxnSpPr>
            <a:cxnSpLocks/>
          </p:cNvCxnSpPr>
          <p:nvPr userDrawn="1"/>
        </p:nvCxnSpPr>
        <p:spPr>
          <a:xfrm>
            <a:off x="904087" y="2472249"/>
            <a:ext cx="2139100" cy="0"/>
          </a:xfrm>
          <a:prstGeom prst="line">
            <a:avLst/>
          </a:prstGeom>
          <a:ln w="2222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8427E60-0C67-164A-9DCA-9F1A9E16B0CB}"/>
              </a:ext>
            </a:extLst>
          </p:cNvPr>
          <p:cNvCxnSpPr>
            <a:cxnSpLocks/>
          </p:cNvCxnSpPr>
          <p:nvPr userDrawn="1"/>
        </p:nvCxnSpPr>
        <p:spPr>
          <a:xfrm>
            <a:off x="3487758" y="2472249"/>
            <a:ext cx="2139100" cy="0"/>
          </a:xfrm>
          <a:prstGeom prst="line">
            <a:avLst/>
          </a:prstGeom>
          <a:ln w="2222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F37559D-0827-5040-A358-F8F68E637B72}"/>
              </a:ext>
            </a:extLst>
          </p:cNvPr>
          <p:cNvCxnSpPr>
            <a:cxnSpLocks/>
          </p:cNvCxnSpPr>
          <p:nvPr userDrawn="1"/>
        </p:nvCxnSpPr>
        <p:spPr>
          <a:xfrm>
            <a:off x="6078565" y="2472249"/>
            <a:ext cx="2139100" cy="0"/>
          </a:xfrm>
          <a:prstGeom prst="line">
            <a:avLst/>
          </a:prstGeom>
          <a:ln w="2222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tsikko 1">
            <a:extLst>
              <a:ext uri="{FF2B5EF4-FFF2-40B4-BE49-F238E27FC236}">
                <a16:creationId xmlns:a16="http://schemas.microsoft.com/office/drawing/2014/main" id="{4CF76CD2-FFA3-4D44-AB80-2A075694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7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3854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isällön paikkamerkki 2">
            <a:extLst>
              <a:ext uri="{FF2B5EF4-FFF2-40B4-BE49-F238E27FC236}">
                <a16:creationId xmlns:a16="http://schemas.microsoft.com/office/drawing/2014/main" id="{952F93AB-A726-0F4B-8F4F-26BDE3F4EE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99855" y="3097673"/>
            <a:ext cx="1149080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Sisällön paikkamerkki 2">
            <a:extLst>
              <a:ext uri="{FF2B5EF4-FFF2-40B4-BE49-F238E27FC236}">
                <a16:creationId xmlns:a16="http://schemas.microsoft.com/office/drawing/2014/main" id="{DA28DB8B-84B2-BA45-918B-F12F2B96D1BF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899855" y="2454690"/>
            <a:ext cx="1149080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10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6D1ECE8-317D-D94A-9032-B38292F8ACF6}"/>
              </a:ext>
            </a:extLst>
          </p:cNvPr>
          <p:cNvCxnSpPr>
            <a:cxnSpLocks/>
          </p:cNvCxnSpPr>
          <p:nvPr userDrawn="1"/>
        </p:nvCxnSpPr>
        <p:spPr>
          <a:xfrm>
            <a:off x="884768" y="3018964"/>
            <a:ext cx="1185333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F5A83EE-454A-8141-ACA2-8BB3A3F1151B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5406" y="1147232"/>
            <a:ext cx="1139825" cy="1254921"/>
          </a:xfrm>
        </p:spPr>
        <p:txBody>
          <a:bodyPr/>
          <a:lstStyle/>
          <a:p>
            <a:r>
              <a:rPr lang="fi-FI"/>
              <a:t>v</a:t>
            </a:r>
          </a:p>
        </p:txBody>
      </p:sp>
      <p:sp>
        <p:nvSpPr>
          <p:cNvPr id="20" name="Sisällön paikkamerkki 2">
            <a:extLst>
              <a:ext uri="{FF2B5EF4-FFF2-40B4-BE49-F238E27FC236}">
                <a16:creationId xmlns:a16="http://schemas.microsoft.com/office/drawing/2014/main" id="{0708D428-49E8-194D-A1D3-01A2FA563E43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2173212" y="3097673"/>
            <a:ext cx="1149080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Sisällön paikkamerkki 2">
            <a:extLst>
              <a:ext uri="{FF2B5EF4-FFF2-40B4-BE49-F238E27FC236}">
                <a16:creationId xmlns:a16="http://schemas.microsoft.com/office/drawing/2014/main" id="{B5FE33C1-3966-9B47-8E21-BE371FF1CAD1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2173212" y="2454690"/>
            <a:ext cx="1149080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10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A127DD4-6086-9B4C-9D5D-E331BFEB2EB1}"/>
              </a:ext>
            </a:extLst>
          </p:cNvPr>
          <p:cNvCxnSpPr>
            <a:cxnSpLocks/>
          </p:cNvCxnSpPr>
          <p:nvPr userDrawn="1"/>
        </p:nvCxnSpPr>
        <p:spPr>
          <a:xfrm>
            <a:off x="2158125" y="3018964"/>
            <a:ext cx="1185333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371A1E8B-57CE-624B-8E91-5A0E31D2B0C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177478" y="1147232"/>
            <a:ext cx="1139825" cy="1254921"/>
          </a:xfrm>
        </p:spPr>
        <p:txBody>
          <a:bodyPr/>
          <a:lstStyle/>
          <a:p>
            <a:r>
              <a:rPr lang="fi-FI"/>
              <a:t>v</a:t>
            </a:r>
          </a:p>
        </p:txBody>
      </p:sp>
      <p:sp>
        <p:nvSpPr>
          <p:cNvPr id="24" name="Sisällön paikkamerkki 2">
            <a:extLst>
              <a:ext uri="{FF2B5EF4-FFF2-40B4-BE49-F238E27FC236}">
                <a16:creationId xmlns:a16="http://schemas.microsoft.com/office/drawing/2014/main" id="{FAE4F67C-6890-6248-90E8-0EA97D6E2CBD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3448150" y="3097673"/>
            <a:ext cx="1149080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Sisällön paikkamerkki 2">
            <a:extLst>
              <a:ext uri="{FF2B5EF4-FFF2-40B4-BE49-F238E27FC236}">
                <a16:creationId xmlns:a16="http://schemas.microsoft.com/office/drawing/2014/main" id="{40212FCF-B7C2-5547-9BDB-D98DD4033EC6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448150" y="2454690"/>
            <a:ext cx="1149080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10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2F57519-EDB6-074E-ADA8-EA89647910B1}"/>
              </a:ext>
            </a:extLst>
          </p:cNvPr>
          <p:cNvCxnSpPr>
            <a:cxnSpLocks/>
          </p:cNvCxnSpPr>
          <p:nvPr userDrawn="1"/>
        </p:nvCxnSpPr>
        <p:spPr>
          <a:xfrm>
            <a:off x="3433063" y="3018964"/>
            <a:ext cx="1185333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EB237DBB-1F31-C14A-98E3-6B8400FE94E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449550" y="1147232"/>
            <a:ext cx="1139825" cy="1254921"/>
          </a:xfrm>
        </p:spPr>
        <p:txBody>
          <a:bodyPr/>
          <a:lstStyle/>
          <a:p>
            <a:r>
              <a:rPr lang="fi-FI"/>
              <a:t>v</a:t>
            </a:r>
          </a:p>
        </p:txBody>
      </p:sp>
      <p:sp>
        <p:nvSpPr>
          <p:cNvPr id="28" name="Sisällön paikkamerkki 2">
            <a:extLst>
              <a:ext uri="{FF2B5EF4-FFF2-40B4-BE49-F238E27FC236}">
                <a16:creationId xmlns:a16="http://schemas.microsoft.com/office/drawing/2014/main" id="{086BB71E-5F6D-2C4C-A43E-4BCE2CC0D580}"/>
              </a:ext>
            </a:extLst>
          </p:cNvPr>
          <p:cNvSpPr>
            <a:spLocks noGrp="1"/>
          </p:cNvSpPr>
          <p:nvPr>
            <p:ph idx="35" hasCustomPrompt="1"/>
          </p:nvPr>
        </p:nvSpPr>
        <p:spPr>
          <a:xfrm>
            <a:off x="4723038" y="3097673"/>
            <a:ext cx="1149080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Sisällön paikkamerkki 2">
            <a:extLst>
              <a:ext uri="{FF2B5EF4-FFF2-40B4-BE49-F238E27FC236}">
                <a16:creationId xmlns:a16="http://schemas.microsoft.com/office/drawing/2014/main" id="{0B4D48B1-BE9F-FF40-A2ED-5594471E3372}"/>
              </a:ext>
            </a:extLst>
          </p:cNvPr>
          <p:cNvSpPr>
            <a:spLocks noGrp="1"/>
          </p:cNvSpPr>
          <p:nvPr>
            <p:ph idx="36" hasCustomPrompt="1"/>
          </p:nvPr>
        </p:nvSpPr>
        <p:spPr>
          <a:xfrm>
            <a:off x="4723038" y="2454690"/>
            <a:ext cx="1149080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10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F44505A-F301-AD40-A3E8-E4BCE79770E2}"/>
              </a:ext>
            </a:extLst>
          </p:cNvPr>
          <p:cNvCxnSpPr>
            <a:cxnSpLocks/>
          </p:cNvCxnSpPr>
          <p:nvPr userDrawn="1"/>
        </p:nvCxnSpPr>
        <p:spPr>
          <a:xfrm>
            <a:off x="4707951" y="3018964"/>
            <a:ext cx="1185333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1D2709BB-7C62-F64B-A372-28F656C4876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721622" y="1147232"/>
            <a:ext cx="1139825" cy="1254921"/>
          </a:xfrm>
        </p:spPr>
        <p:txBody>
          <a:bodyPr/>
          <a:lstStyle/>
          <a:p>
            <a:r>
              <a:rPr lang="fi-FI"/>
              <a:t>v</a:t>
            </a:r>
          </a:p>
        </p:txBody>
      </p:sp>
      <p:sp>
        <p:nvSpPr>
          <p:cNvPr id="32" name="Sisällön paikkamerkki 2">
            <a:extLst>
              <a:ext uri="{FF2B5EF4-FFF2-40B4-BE49-F238E27FC236}">
                <a16:creationId xmlns:a16="http://schemas.microsoft.com/office/drawing/2014/main" id="{091CC950-C626-D347-B84D-7ABC63012DD7}"/>
              </a:ext>
            </a:extLst>
          </p:cNvPr>
          <p:cNvSpPr>
            <a:spLocks noGrp="1"/>
          </p:cNvSpPr>
          <p:nvPr>
            <p:ph idx="38" hasCustomPrompt="1"/>
          </p:nvPr>
        </p:nvSpPr>
        <p:spPr>
          <a:xfrm>
            <a:off x="5993743" y="3097673"/>
            <a:ext cx="1149080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Sisällön paikkamerkki 2">
            <a:extLst>
              <a:ext uri="{FF2B5EF4-FFF2-40B4-BE49-F238E27FC236}">
                <a16:creationId xmlns:a16="http://schemas.microsoft.com/office/drawing/2014/main" id="{288DB71C-214D-A740-950D-07AAF3305DE8}"/>
              </a:ext>
            </a:extLst>
          </p:cNvPr>
          <p:cNvSpPr>
            <a:spLocks noGrp="1"/>
          </p:cNvSpPr>
          <p:nvPr>
            <p:ph idx="39" hasCustomPrompt="1"/>
          </p:nvPr>
        </p:nvSpPr>
        <p:spPr>
          <a:xfrm>
            <a:off x="5993743" y="2454690"/>
            <a:ext cx="1149080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10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1FE7932-84BD-5E4B-911A-3F8B20EED021}"/>
              </a:ext>
            </a:extLst>
          </p:cNvPr>
          <p:cNvCxnSpPr>
            <a:cxnSpLocks/>
          </p:cNvCxnSpPr>
          <p:nvPr userDrawn="1"/>
        </p:nvCxnSpPr>
        <p:spPr>
          <a:xfrm>
            <a:off x="5978656" y="3018964"/>
            <a:ext cx="1185333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0D102F11-27DE-6244-8513-435DE5DA211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993694" y="1147232"/>
            <a:ext cx="1139825" cy="1254921"/>
          </a:xfrm>
        </p:spPr>
        <p:txBody>
          <a:bodyPr/>
          <a:lstStyle/>
          <a:p>
            <a:r>
              <a:rPr lang="fi-FI"/>
              <a:t>v</a:t>
            </a:r>
          </a:p>
        </p:txBody>
      </p:sp>
      <p:sp>
        <p:nvSpPr>
          <p:cNvPr id="36" name="Sisällön paikkamerkki 2">
            <a:extLst>
              <a:ext uri="{FF2B5EF4-FFF2-40B4-BE49-F238E27FC236}">
                <a16:creationId xmlns:a16="http://schemas.microsoft.com/office/drawing/2014/main" id="{0963BB75-E0DE-CA40-A4CE-6E13CDBC3285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7260213" y="3097673"/>
            <a:ext cx="1149080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Sisällön paikkamerkki 2">
            <a:extLst>
              <a:ext uri="{FF2B5EF4-FFF2-40B4-BE49-F238E27FC236}">
                <a16:creationId xmlns:a16="http://schemas.microsoft.com/office/drawing/2014/main" id="{C7152ADC-E424-E84A-8998-C5B25B056B55}"/>
              </a:ext>
            </a:extLst>
          </p:cNvPr>
          <p:cNvSpPr>
            <a:spLocks noGrp="1"/>
          </p:cNvSpPr>
          <p:nvPr>
            <p:ph idx="42" hasCustomPrompt="1"/>
          </p:nvPr>
        </p:nvSpPr>
        <p:spPr>
          <a:xfrm>
            <a:off x="7260213" y="2454690"/>
            <a:ext cx="1149080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10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8000" indent="-1080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A0C76E0-0968-A240-92D7-F22EB7E92DCC}"/>
              </a:ext>
            </a:extLst>
          </p:cNvPr>
          <p:cNvCxnSpPr>
            <a:cxnSpLocks/>
          </p:cNvCxnSpPr>
          <p:nvPr userDrawn="1"/>
        </p:nvCxnSpPr>
        <p:spPr>
          <a:xfrm>
            <a:off x="7245126" y="3018964"/>
            <a:ext cx="1185333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CA240452-73A0-F04A-B723-382D74B5A4B4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7265764" y="1147232"/>
            <a:ext cx="1139825" cy="1254921"/>
          </a:xfrm>
        </p:spPr>
        <p:txBody>
          <a:bodyPr/>
          <a:lstStyle/>
          <a:p>
            <a:r>
              <a:rPr lang="fi-FI"/>
              <a:t>v</a:t>
            </a:r>
          </a:p>
        </p:txBody>
      </p:sp>
      <p:sp>
        <p:nvSpPr>
          <p:cNvPr id="40" name="Otsikko 1">
            <a:extLst>
              <a:ext uri="{FF2B5EF4-FFF2-40B4-BE49-F238E27FC236}">
                <a16:creationId xmlns:a16="http://schemas.microsoft.com/office/drawing/2014/main" id="{88694419-423B-6B49-A19A-B4E023E72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7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0545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98972BB4-0264-BA46-90C1-529B34AD5727}"/>
              </a:ext>
            </a:extLst>
          </p:cNvPr>
          <p:cNvSpPr/>
          <p:nvPr userDrawn="1"/>
        </p:nvSpPr>
        <p:spPr>
          <a:xfrm>
            <a:off x="5952811" y="1499163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b="0" i="0" dirty="0">
              <a:latin typeface="Roboto" panose="020000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3CBEE3-7803-0D48-9C4D-40CBBD0B9607}"/>
              </a:ext>
            </a:extLst>
          </p:cNvPr>
          <p:cNvSpPr/>
          <p:nvPr userDrawn="1"/>
        </p:nvSpPr>
        <p:spPr>
          <a:xfrm>
            <a:off x="5952811" y="3125056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b="0" i="0" dirty="0">
              <a:latin typeface="Roboto" panose="02000000000000000000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F70B23-9892-4741-8879-7A1EF1040693}"/>
              </a:ext>
            </a:extLst>
          </p:cNvPr>
          <p:cNvSpPr/>
          <p:nvPr userDrawn="1"/>
        </p:nvSpPr>
        <p:spPr>
          <a:xfrm>
            <a:off x="3428255" y="1499163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b="0" i="0" dirty="0">
              <a:latin typeface="Roboto" panose="020000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1426FCF-EEF7-9A47-A49A-21C060C68BA5}"/>
              </a:ext>
            </a:extLst>
          </p:cNvPr>
          <p:cNvSpPr/>
          <p:nvPr userDrawn="1"/>
        </p:nvSpPr>
        <p:spPr>
          <a:xfrm>
            <a:off x="3428255" y="3125056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b="0" i="0" dirty="0">
              <a:latin typeface="Roboto" panose="02000000000000000000" pitchFamily="2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C49897-AC1F-CF46-8660-BE39D13488ED}"/>
              </a:ext>
            </a:extLst>
          </p:cNvPr>
          <p:cNvSpPr/>
          <p:nvPr userDrawn="1"/>
        </p:nvSpPr>
        <p:spPr>
          <a:xfrm>
            <a:off x="901886" y="1499163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b="0" i="0" dirty="0">
              <a:latin typeface="Roboto" panose="02000000000000000000" pitchFamily="2" charset="0"/>
            </a:endParaRPr>
          </a:p>
        </p:txBody>
      </p:sp>
      <p:sp>
        <p:nvSpPr>
          <p:cNvPr id="10" name="Sisällön paikkamerkki 2">
            <a:extLst>
              <a:ext uri="{FF2B5EF4-FFF2-40B4-BE49-F238E27FC236}">
                <a16:creationId xmlns:a16="http://schemas.microsoft.com/office/drawing/2014/main" id="{952F93AB-A726-0F4B-8F4F-26BDE3F4EE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0114" y="1562319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84CEF3-8FF7-3C47-8023-3009E72EC0A0}"/>
              </a:ext>
            </a:extLst>
          </p:cNvPr>
          <p:cNvSpPr/>
          <p:nvPr userDrawn="1"/>
        </p:nvSpPr>
        <p:spPr>
          <a:xfrm>
            <a:off x="901886" y="3125056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b="0" i="0" dirty="0">
              <a:latin typeface="Roboto" panose="02000000000000000000" pitchFamily="2" charset="0"/>
            </a:endParaRPr>
          </a:p>
        </p:txBody>
      </p:sp>
      <p:sp>
        <p:nvSpPr>
          <p:cNvPr id="12" name="Sisällön paikkamerkki 2">
            <a:extLst>
              <a:ext uri="{FF2B5EF4-FFF2-40B4-BE49-F238E27FC236}">
                <a16:creationId xmlns:a16="http://schemas.microsoft.com/office/drawing/2014/main" id="{969E8070-17F5-3546-82D6-69D22E4C289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980114" y="3195318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isällön paikkamerkki 2">
            <a:extLst>
              <a:ext uri="{FF2B5EF4-FFF2-40B4-BE49-F238E27FC236}">
                <a16:creationId xmlns:a16="http://schemas.microsoft.com/office/drawing/2014/main" id="{30FF65DF-D5BA-7F44-A9D2-825D511D298A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508680" y="1562319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C357-2685-E14A-8D2D-97BB9FC3405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508680" y="3195318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Sisällön paikkamerkki 2">
            <a:extLst>
              <a:ext uri="{FF2B5EF4-FFF2-40B4-BE49-F238E27FC236}">
                <a16:creationId xmlns:a16="http://schemas.microsoft.com/office/drawing/2014/main" id="{F529E85D-15BF-BD46-B200-C52ADF8438C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033277" y="1562319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Sisällön paikkamerkki 2">
            <a:extLst>
              <a:ext uri="{FF2B5EF4-FFF2-40B4-BE49-F238E27FC236}">
                <a16:creationId xmlns:a16="http://schemas.microsoft.com/office/drawing/2014/main" id="{87D1DB19-21C9-2648-9FD6-A5BF21397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33277" y="3195318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Otsikko 1">
            <a:extLst>
              <a:ext uri="{FF2B5EF4-FFF2-40B4-BE49-F238E27FC236}">
                <a16:creationId xmlns:a16="http://schemas.microsoft.com/office/drawing/2014/main" id="{696423B3-1699-CD42-B0C8-BEB8E7B14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7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3718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rk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5C9D464-2FCE-544F-8908-1B27343985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F858F56-8AF5-FA46-823F-42256AAE1525}"/>
              </a:ext>
            </a:extLst>
          </p:cNvPr>
          <p:cNvSpPr/>
          <p:nvPr userDrawn="1"/>
        </p:nvSpPr>
        <p:spPr>
          <a:xfrm>
            <a:off x="0" y="0"/>
            <a:ext cx="5537200" cy="51435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lumMod val="95000"/>
                  <a:lumOff val="5000"/>
                  <a:alpha val="0"/>
                </a:schemeClr>
              </a:gs>
            </a:gsLst>
            <a:lin ang="0" scaled="0"/>
          </a:gra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b="0" i="0" dirty="0">
              <a:latin typeface="Roboto" panose="02000000000000000000" pitchFamily="2" charset="0"/>
            </a:endParaRPr>
          </a:p>
        </p:txBody>
      </p:sp>
      <p:sp>
        <p:nvSpPr>
          <p:cNvPr id="7" name="Sisällön paikkamerkki 2">
            <a:extLst>
              <a:ext uri="{FF2B5EF4-FFF2-40B4-BE49-F238E27FC236}">
                <a16:creationId xmlns:a16="http://schemas.microsoft.com/office/drawing/2014/main" id="{3EDCD99F-20E8-8E42-9353-7A90368D4E7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00113" y="1219200"/>
            <a:ext cx="3278310" cy="3656761"/>
          </a:xfr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4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2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2pPr>
            <a:lvl3pPr marL="306000" indent="-180000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Otsikko 1">
            <a:extLst>
              <a:ext uri="{FF2B5EF4-FFF2-40B4-BE49-F238E27FC236}">
                <a16:creationId xmlns:a16="http://schemas.microsoft.com/office/drawing/2014/main" id="{41FA286F-0386-4A47-A899-205154CA3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977" y="541338"/>
            <a:ext cx="3278446" cy="555096"/>
          </a:xfrm>
        </p:spPr>
        <p:txBody>
          <a:bodyPr lIns="90000" anchor="t" anchorCtr="0">
            <a:normAutofit/>
          </a:bodyPr>
          <a:lstStyle>
            <a:lvl1pPr>
              <a:defRPr sz="1800" b="0" i="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84347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rk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5C9D464-2FCE-544F-8908-1B27343985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700" y="1"/>
            <a:ext cx="9144000" cy="5143500"/>
          </a:xfrm>
          <a:prstGeom prst="rect">
            <a:avLst/>
          </a:prstGeom>
        </p:spPr>
      </p:pic>
      <p:sp>
        <p:nvSpPr>
          <p:cNvPr id="16" name="Otsikko 1">
            <a:extLst>
              <a:ext uri="{FF2B5EF4-FFF2-40B4-BE49-F238E27FC236}">
                <a16:creationId xmlns:a16="http://schemas.microsoft.com/office/drawing/2014/main" id="{D4706C1B-982F-5A4D-AF6E-C76631750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976" y="541338"/>
            <a:ext cx="4905837" cy="555096"/>
          </a:xfrm>
        </p:spPr>
        <p:txBody>
          <a:bodyPr lIns="90000" anchor="t" anchorCtr="0">
            <a:normAutofit/>
          </a:bodyPr>
          <a:lstStyle>
            <a:lvl1pPr>
              <a:defRPr sz="1800" b="0" i="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7" name="Sisällön paikkamerkki 2">
            <a:extLst>
              <a:ext uri="{FF2B5EF4-FFF2-40B4-BE49-F238E27FC236}">
                <a16:creationId xmlns:a16="http://schemas.microsoft.com/office/drawing/2014/main" id="{F97D0D8F-DA6E-FF41-B93C-F13CAAC78C5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603707" y="1219200"/>
            <a:ext cx="2577888" cy="3656761"/>
          </a:xfr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4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2pPr>
            <a:lvl3pPr marL="0" indent="-1800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3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80000" indent="-108000">
              <a:spcBef>
                <a:spcPts val="600"/>
              </a:spcBef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Sisällön paikkamerkki 2">
            <a:extLst>
              <a:ext uri="{FF2B5EF4-FFF2-40B4-BE49-F238E27FC236}">
                <a16:creationId xmlns:a16="http://schemas.microsoft.com/office/drawing/2014/main" id="{5FD1E869-7CFE-A44A-91BB-346710EB07F4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900113" y="1219200"/>
            <a:ext cx="2557071" cy="3656761"/>
          </a:xfr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4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2pPr>
            <a:lvl3pPr marL="0" indent="-1800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3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80000" indent="-108000">
              <a:spcBef>
                <a:spcPts val="600"/>
              </a:spcBef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16569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er 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 hasCustomPrompt="1"/>
          </p:nvPr>
        </p:nvSpPr>
        <p:spPr>
          <a:xfrm>
            <a:off x="900113" y="1627704"/>
            <a:ext cx="2254338" cy="1270473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Sisällön paikkamerkki 2">
            <a:extLst>
              <a:ext uri="{FF2B5EF4-FFF2-40B4-BE49-F238E27FC236}">
                <a16:creationId xmlns:a16="http://schemas.microsoft.com/office/drawing/2014/main" id="{FA32DFF2-BD39-B743-BE1B-8725DE77791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305381" y="1627704"/>
            <a:ext cx="2482939" cy="1270473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Sisällön paikkamerkki 2">
            <a:extLst>
              <a:ext uri="{FF2B5EF4-FFF2-40B4-BE49-F238E27FC236}">
                <a16:creationId xmlns:a16="http://schemas.microsoft.com/office/drawing/2014/main" id="{3DD24FFD-9490-B14C-8AC4-DC7FDC6080A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900113" y="3163301"/>
            <a:ext cx="2254338" cy="914768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Sisällön paikkamerkki 2">
            <a:extLst>
              <a:ext uri="{FF2B5EF4-FFF2-40B4-BE49-F238E27FC236}">
                <a16:creationId xmlns:a16="http://schemas.microsoft.com/office/drawing/2014/main" id="{0224A612-F788-FB4B-8E66-7E818F5690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05381" y="3163301"/>
            <a:ext cx="2482939" cy="914768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Sisällön paikkamerkki 2">
            <a:extLst>
              <a:ext uri="{FF2B5EF4-FFF2-40B4-BE49-F238E27FC236}">
                <a16:creationId xmlns:a16="http://schemas.microsoft.com/office/drawing/2014/main" id="{2E7079A5-0FA8-5742-ACBB-2F365C5D4B1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930705" y="1627705"/>
            <a:ext cx="2885473" cy="2450364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6000" indent="-216000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5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700" indent="-342900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522D373-F15B-7945-A09D-7002ED422606}"/>
              </a:ext>
            </a:extLst>
          </p:cNvPr>
          <p:cNvGrpSpPr/>
          <p:nvPr userDrawn="1"/>
        </p:nvGrpSpPr>
        <p:grpSpPr>
          <a:xfrm>
            <a:off x="900113" y="1370127"/>
            <a:ext cx="2254338" cy="276999"/>
            <a:chOff x="886427" y="1590261"/>
            <a:chExt cx="2254338" cy="27699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8CA8D17-2432-074A-B244-0465E7F5D011}"/>
                </a:ext>
              </a:extLst>
            </p:cNvPr>
            <p:cNvSpPr txBox="1"/>
            <p:nvPr userDrawn="1"/>
          </p:nvSpPr>
          <p:spPr>
            <a:xfrm>
              <a:off x="886427" y="1590261"/>
              <a:ext cx="1585663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Key </a:t>
              </a:r>
              <a:r>
                <a:rPr lang="en-US" sz="1200" b="0" i="0" noProof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businesses</a:t>
              </a:r>
              <a:r>
                <a:rPr lang="en-US" sz="1200" b="0" i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: 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9752BF6-EBAA-984C-8163-2C4A82017E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86427" y="1827959"/>
              <a:ext cx="2254338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C490A09-8E0E-354C-BC24-2000EBED6F24}"/>
              </a:ext>
            </a:extLst>
          </p:cNvPr>
          <p:cNvGrpSpPr/>
          <p:nvPr userDrawn="1"/>
        </p:nvGrpSpPr>
        <p:grpSpPr>
          <a:xfrm>
            <a:off x="3295444" y="1370127"/>
            <a:ext cx="2254338" cy="276999"/>
            <a:chOff x="3281758" y="1590261"/>
            <a:chExt cx="2254338" cy="276999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EFC348D-2280-8649-80FC-9853A12A6159}"/>
                </a:ext>
              </a:extLst>
            </p:cNvPr>
            <p:cNvSpPr txBox="1"/>
            <p:nvPr userDrawn="1"/>
          </p:nvSpPr>
          <p:spPr>
            <a:xfrm>
              <a:off x="3294095" y="1590261"/>
              <a:ext cx="1388522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Why Emberion: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BA21A42-D780-9C4E-9AE6-F2B82A7AC9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281758" y="1827959"/>
              <a:ext cx="2254338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921968-7B3F-1E44-8025-E45CB40FB413}"/>
              </a:ext>
            </a:extLst>
          </p:cNvPr>
          <p:cNvGrpSpPr/>
          <p:nvPr userDrawn="1"/>
        </p:nvGrpSpPr>
        <p:grpSpPr>
          <a:xfrm>
            <a:off x="900113" y="2917608"/>
            <a:ext cx="2254338" cy="276999"/>
            <a:chOff x="886427" y="3137742"/>
            <a:chExt cx="2254338" cy="27699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E899BFA-EB6A-BA4F-BA24-AAC0AEFB609E}"/>
                </a:ext>
              </a:extLst>
            </p:cNvPr>
            <p:cNvSpPr txBox="1"/>
            <p:nvPr userDrawn="1"/>
          </p:nvSpPr>
          <p:spPr>
            <a:xfrm>
              <a:off x="886427" y="3137742"/>
              <a:ext cx="1603324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 noProof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Company profile: 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E38DC18-3D13-684A-AC5A-89FCBEB25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86427" y="3363554"/>
              <a:ext cx="2254338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C473A63-A7A9-1B4A-8135-A9263C0C40A8}"/>
              </a:ext>
            </a:extLst>
          </p:cNvPr>
          <p:cNvGrpSpPr/>
          <p:nvPr userDrawn="1"/>
        </p:nvGrpSpPr>
        <p:grpSpPr>
          <a:xfrm>
            <a:off x="3295444" y="2917607"/>
            <a:ext cx="2254338" cy="276999"/>
            <a:chOff x="3281758" y="3137741"/>
            <a:chExt cx="2254338" cy="276999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D983FEE-499E-6F4A-BFA9-BF26D6E40EB1}"/>
                </a:ext>
              </a:extLst>
            </p:cNvPr>
            <p:cNvSpPr txBox="1"/>
            <p:nvPr userDrawn="1"/>
          </p:nvSpPr>
          <p:spPr>
            <a:xfrm>
              <a:off x="3294095" y="3137741"/>
              <a:ext cx="1314784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 noProof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Collaboration: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A0639D36-70DA-584C-9F06-39D5D88F0F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281758" y="3363554"/>
              <a:ext cx="2254338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0344D9E-F9DE-8A4B-836C-4C45BC9E3CC9}"/>
              </a:ext>
            </a:extLst>
          </p:cNvPr>
          <p:cNvGrpSpPr/>
          <p:nvPr userDrawn="1"/>
        </p:nvGrpSpPr>
        <p:grpSpPr>
          <a:xfrm>
            <a:off x="5925564" y="1370127"/>
            <a:ext cx="3070269" cy="276999"/>
            <a:chOff x="5925564" y="1590261"/>
            <a:chExt cx="3070269" cy="27699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9D4BD9A-C8D3-B043-BEA0-D6ACC6CB5A9B}"/>
                </a:ext>
              </a:extLst>
            </p:cNvPr>
            <p:cNvSpPr txBox="1"/>
            <p:nvPr userDrawn="1"/>
          </p:nvSpPr>
          <p:spPr>
            <a:xfrm>
              <a:off x="5925564" y="1590261"/>
              <a:ext cx="3070269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Examples of potential product integration: </a:t>
              </a: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679AEE7-ECAF-1F4E-A8FD-9C242E42BCF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25737" y="1827959"/>
              <a:ext cx="2890441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Otsikko 1">
            <a:extLst>
              <a:ext uri="{FF2B5EF4-FFF2-40B4-BE49-F238E27FC236}">
                <a16:creationId xmlns:a16="http://schemas.microsoft.com/office/drawing/2014/main" id="{6FF66E7A-3DEB-7D4E-B8A4-C974DD714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7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36D0E98-84F5-A94B-88CE-6147AFE9988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16101" y="4677833"/>
            <a:ext cx="1231899" cy="337892"/>
          </a:xfrm>
        </p:spPr>
        <p:txBody>
          <a:bodyPr/>
          <a:lstStyle/>
          <a:p>
            <a:endParaRPr lang="fi-FI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A089840-6AB6-3348-9675-6E92C39A0E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5733" y="4858325"/>
            <a:ext cx="614437" cy="94529"/>
          </a:xfrm>
          <a:prstGeom prst="rect">
            <a:avLst/>
          </a:prstGeom>
        </p:spPr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B5B0AD6-FA62-5D42-BC4B-CBCD0A0141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19333" y="4791256"/>
            <a:ext cx="1575330" cy="263343"/>
          </a:xfrm>
        </p:spPr>
        <p:txBody>
          <a:bodyPr/>
          <a:lstStyle>
            <a:lvl1pPr algn="r"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35245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0B8B49-D585-1B49-B02F-C2DA0FE7A3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2760132"/>
            <a:ext cx="6858000" cy="1260475"/>
          </a:xfrm>
        </p:spPr>
        <p:txBody>
          <a:bodyPr anchor="t" anchorCtr="0">
            <a:normAutofit/>
          </a:bodyPr>
          <a:lstStyle>
            <a:lvl1pPr algn="ctr">
              <a:defRPr sz="3600"/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8053F0-9C37-254C-B1A6-F08D6AD0E8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4106333"/>
            <a:ext cx="6858000" cy="637547"/>
          </a:xfrm>
        </p:spPr>
        <p:txBody>
          <a:bodyPr>
            <a:normAutofit/>
          </a:bodyPr>
          <a:lstStyle>
            <a:lvl1pPr marL="0" indent="0" algn="ctr">
              <a:lnSpc>
                <a:spcPct val="110000"/>
              </a:lnSpc>
              <a:buNone/>
              <a:defRPr sz="1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70397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36029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Slide - 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6234FB49-9D02-DE41-8440-B23FE5E2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084212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Sisällön paikkamerkki 2">
            <a:extLst>
              <a:ext uri="{FF2B5EF4-FFF2-40B4-BE49-F238E27FC236}">
                <a16:creationId xmlns:a16="http://schemas.microsoft.com/office/drawing/2014/main" id="{30F6738B-6929-9949-BE41-B8ED6643F09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04089" y="1701801"/>
            <a:ext cx="3638279" cy="2816623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51254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- 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6234FB49-9D02-DE41-8440-B23FE5E2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084212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Sisällön paikkamerkki 2">
            <a:extLst>
              <a:ext uri="{FF2B5EF4-FFF2-40B4-BE49-F238E27FC236}">
                <a16:creationId xmlns:a16="http://schemas.microsoft.com/office/drawing/2014/main" id="{5E9389AD-2668-514C-BCA0-2637F290DF06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99593" y="1701801"/>
            <a:ext cx="7110314" cy="281662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539987" indent="-107997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08744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Slide - 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6234FB49-9D02-DE41-8440-B23FE5E2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592" y="231378"/>
            <a:ext cx="7084212" cy="244873"/>
          </a:xfrm>
        </p:spPr>
        <p:txBody>
          <a:bodyPr lIns="90000" anchor="t" anchorCtr="0">
            <a:noAutofit/>
          </a:bodyPr>
          <a:lstStyle>
            <a:lvl1pPr>
              <a:defRPr sz="1400" b="0" i="0">
                <a:solidFill>
                  <a:srgbClr val="DCDCDC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Sisällön paikkamerkki 2">
            <a:extLst>
              <a:ext uri="{FF2B5EF4-FFF2-40B4-BE49-F238E27FC236}">
                <a16:creationId xmlns:a16="http://schemas.microsoft.com/office/drawing/2014/main" id="{5E9389AD-2668-514C-BCA0-2637F290DF06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99593" y="889001"/>
            <a:ext cx="7110314" cy="362942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solidFill>
                  <a:schemeClr val="bg1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539987" indent="-107997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bg1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73CA2A-534A-4693-9A76-75AD864215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99592" y="527050"/>
            <a:ext cx="7084212" cy="311150"/>
          </a:xfrm>
        </p:spPr>
        <p:txBody>
          <a:bodyPr>
            <a:noAutofit/>
          </a:bodyPr>
          <a:lstStyle>
            <a:lvl1pPr>
              <a:buNone/>
              <a:defRPr sz="1400">
                <a:solidFill>
                  <a:srgbClr val="FF7F00"/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22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Slide - 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6234FB49-9D02-DE41-8440-B23FE5E2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084212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Sisällön paikkamerkki 2">
            <a:extLst>
              <a:ext uri="{FF2B5EF4-FFF2-40B4-BE49-F238E27FC236}">
                <a16:creationId xmlns:a16="http://schemas.microsoft.com/office/drawing/2014/main" id="{30F6738B-6929-9949-BE41-B8ED6643F09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04089" y="1701801"/>
            <a:ext cx="3638279" cy="2816623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9184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Slide - Header + 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6234FB49-9D02-DE41-8440-B23FE5E2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C2FBFAF0-A693-604F-8DDD-4E26EB2945A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49718" y="1701801"/>
            <a:ext cx="3653449" cy="281662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539987" indent="-107997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isällön paikkamerkki 2">
            <a:extLst>
              <a:ext uri="{FF2B5EF4-FFF2-40B4-BE49-F238E27FC236}">
                <a16:creationId xmlns:a16="http://schemas.microsoft.com/office/drawing/2014/main" id="{3461C88D-D2DE-034A-907B-4DAFE52DC5C7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99593" y="1701801"/>
            <a:ext cx="3653449" cy="281662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539987" indent="-107997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25583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Slide - Header + 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isällön paikkamerkki 2">
            <a:extLst>
              <a:ext uri="{FF2B5EF4-FFF2-40B4-BE49-F238E27FC236}">
                <a16:creationId xmlns:a16="http://schemas.microsoft.com/office/drawing/2014/main" id="{952F93AB-A726-0F4B-8F4F-26BDE3F4EE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04087" y="3738666"/>
            <a:ext cx="2491550" cy="1069044"/>
          </a:xfrm>
        </p:spPr>
        <p:txBody>
          <a:bodyPr lIns="0" tIns="0" rIns="0" bIns="0">
            <a:normAutofit/>
          </a:bodyPr>
          <a:lstStyle>
            <a:lvl1pPr marL="107997" indent="-107997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Sisällön paikkamerkki 2">
            <a:extLst>
              <a:ext uri="{FF2B5EF4-FFF2-40B4-BE49-F238E27FC236}">
                <a16:creationId xmlns:a16="http://schemas.microsoft.com/office/drawing/2014/main" id="{DA28DB8B-84B2-BA45-918B-F12F2B96D1BF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904088" y="2225732"/>
            <a:ext cx="2139100" cy="211025"/>
          </a:xfrm>
        </p:spPr>
        <p:txBody>
          <a:bodyPr lIns="0" tIns="0" rIns="0" bIns="0">
            <a:normAutofit/>
          </a:bodyPr>
          <a:lstStyle>
            <a:lvl1pPr marL="0" indent="0">
              <a:spcAft>
                <a:spcPts val="600"/>
              </a:spcAft>
              <a:buNone/>
              <a:defRPr sz="12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isällön paikkamerkki 2">
            <a:extLst>
              <a:ext uri="{FF2B5EF4-FFF2-40B4-BE49-F238E27FC236}">
                <a16:creationId xmlns:a16="http://schemas.microsoft.com/office/drawing/2014/main" id="{8D613E31-EAC0-CE41-BE09-ECCEED39F1FA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3498020" y="2225732"/>
            <a:ext cx="2136291" cy="211025"/>
          </a:xfrm>
        </p:spPr>
        <p:txBody>
          <a:bodyPr lIns="0" tIns="0" rIns="0" bIns="0">
            <a:normAutofit/>
          </a:bodyPr>
          <a:lstStyle>
            <a:lvl1pPr marL="0" indent="0">
              <a:spcAft>
                <a:spcPts val="600"/>
              </a:spcAft>
              <a:buNone/>
              <a:defRPr sz="12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Bef>
                <a:spcPts val="24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04B617F6-5CC1-4C43-B007-62E99877D232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6088366" y="2225732"/>
            <a:ext cx="2136291" cy="211025"/>
          </a:xfrm>
        </p:spPr>
        <p:txBody>
          <a:bodyPr lIns="0" tIns="0" rIns="0" bIns="0">
            <a:normAutofit/>
          </a:bodyPr>
          <a:lstStyle>
            <a:lvl1pPr marL="0" indent="0">
              <a:spcAft>
                <a:spcPts val="600"/>
              </a:spcAft>
              <a:buNone/>
              <a:defRPr sz="12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Bef>
                <a:spcPts val="24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isällön paikkamerkki 2">
            <a:extLst>
              <a:ext uri="{FF2B5EF4-FFF2-40B4-BE49-F238E27FC236}">
                <a16:creationId xmlns:a16="http://schemas.microsoft.com/office/drawing/2014/main" id="{694AB77B-71E2-5949-8B93-460D291AEC8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495211" y="3738666"/>
            <a:ext cx="2495345" cy="1069044"/>
          </a:xfrm>
        </p:spPr>
        <p:txBody>
          <a:bodyPr lIns="0" tIns="0" rIns="0" bIns="0">
            <a:normAutofit/>
          </a:bodyPr>
          <a:lstStyle>
            <a:lvl1pPr marL="107997" indent="-107997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isällön paikkamerkki 2">
            <a:extLst>
              <a:ext uri="{FF2B5EF4-FFF2-40B4-BE49-F238E27FC236}">
                <a16:creationId xmlns:a16="http://schemas.microsoft.com/office/drawing/2014/main" id="{E250AB0D-415C-2C49-989D-6EBC34EBE57D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088367" y="3738666"/>
            <a:ext cx="2139100" cy="1069044"/>
          </a:xfrm>
        </p:spPr>
        <p:txBody>
          <a:bodyPr lIns="0" tIns="0" rIns="0" bIns="0">
            <a:normAutofit/>
          </a:bodyPr>
          <a:lstStyle>
            <a:lvl1pPr marL="107997" indent="-107997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marR="0" indent="-107997" algn="l" defTabSz="914378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6D1ECE8-317D-D94A-9032-B38292F8ACF6}"/>
              </a:ext>
            </a:extLst>
          </p:cNvPr>
          <p:cNvCxnSpPr>
            <a:cxnSpLocks/>
          </p:cNvCxnSpPr>
          <p:nvPr userDrawn="1"/>
        </p:nvCxnSpPr>
        <p:spPr>
          <a:xfrm>
            <a:off x="904088" y="2472249"/>
            <a:ext cx="2139100" cy="0"/>
          </a:xfrm>
          <a:prstGeom prst="line">
            <a:avLst/>
          </a:prstGeom>
          <a:ln w="2222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8427E60-0C67-164A-9DCA-9F1A9E16B0CB}"/>
              </a:ext>
            </a:extLst>
          </p:cNvPr>
          <p:cNvCxnSpPr>
            <a:cxnSpLocks/>
          </p:cNvCxnSpPr>
          <p:nvPr userDrawn="1"/>
        </p:nvCxnSpPr>
        <p:spPr>
          <a:xfrm>
            <a:off x="3487758" y="2472249"/>
            <a:ext cx="2139100" cy="0"/>
          </a:xfrm>
          <a:prstGeom prst="line">
            <a:avLst/>
          </a:prstGeom>
          <a:ln w="2222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F37559D-0827-5040-A358-F8F68E637B72}"/>
              </a:ext>
            </a:extLst>
          </p:cNvPr>
          <p:cNvCxnSpPr>
            <a:cxnSpLocks/>
          </p:cNvCxnSpPr>
          <p:nvPr userDrawn="1"/>
        </p:nvCxnSpPr>
        <p:spPr>
          <a:xfrm>
            <a:off x="6078566" y="2472249"/>
            <a:ext cx="2139100" cy="0"/>
          </a:xfrm>
          <a:prstGeom prst="line">
            <a:avLst/>
          </a:prstGeom>
          <a:ln w="2222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tsikko 1">
            <a:extLst>
              <a:ext uri="{FF2B5EF4-FFF2-40B4-BE49-F238E27FC236}">
                <a16:creationId xmlns:a16="http://schemas.microsoft.com/office/drawing/2014/main" id="{4CF76CD2-FFA3-4D44-AB80-2A075694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79683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isällön paikkamerkki 2">
            <a:extLst>
              <a:ext uri="{FF2B5EF4-FFF2-40B4-BE49-F238E27FC236}">
                <a16:creationId xmlns:a16="http://schemas.microsoft.com/office/drawing/2014/main" id="{952F93AB-A726-0F4B-8F4F-26BDE3F4EE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74516" y="3097674"/>
            <a:ext cx="869552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5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isällön paikkamerkki 2">
            <a:extLst>
              <a:ext uri="{FF2B5EF4-FFF2-40B4-BE49-F238E27FC236}">
                <a16:creationId xmlns:a16="http://schemas.microsoft.com/office/drawing/2014/main" id="{DA28DB8B-84B2-BA45-918B-F12F2B96D1BF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74516" y="2532216"/>
            <a:ext cx="869552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788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6D1ECE8-317D-D94A-9032-B38292F8ACF6}"/>
              </a:ext>
            </a:extLst>
          </p:cNvPr>
          <p:cNvCxnSpPr>
            <a:cxnSpLocks/>
          </p:cNvCxnSpPr>
          <p:nvPr userDrawn="1"/>
        </p:nvCxnSpPr>
        <p:spPr>
          <a:xfrm>
            <a:off x="764362" y="3018964"/>
            <a:ext cx="891000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tsikko 1">
            <a:extLst>
              <a:ext uri="{FF2B5EF4-FFF2-40B4-BE49-F238E27FC236}">
                <a16:creationId xmlns:a16="http://schemas.microsoft.com/office/drawing/2014/main" id="{88694419-423B-6B49-A19A-B4E023E72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499079" cy="746521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1" name="Sisällön paikkamerkki 2">
            <a:extLst>
              <a:ext uri="{FF2B5EF4-FFF2-40B4-BE49-F238E27FC236}">
                <a16:creationId xmlns:a16="http://schemas.microsoft.com/office/drawing/2014/main" id="{B6C17FBF-036C-E6AB-172B-FD8C232C59EA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735630" y="3097674"/>
            <a:ext cx="869552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5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2" name="Sisällön paikkamerkki 2">
            <a:extLst>
              <a:ext uri="{FF2B5EF4-FFF2-40B4-BE49-F238E27FC236}">
                <a16:creationId xmlns:a16="http://schemas.microsoft.com/office/drawing/2014/main" id="{DE933A35-5ACA-8395-5150-BA3BD5448A9A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1735630" y="2532216"/>
            <a:ext cx="869552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788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AFBCC6F-DA6D-9D28-3D0F-597D6154E2FF}"/>
              </a:ext>
            </a:extLst>
          </p:cNvPr>
          <p:cNvCxnSpPr>
            <a:cxnSpLocks/>
          </p:cNvCxnSpPr>
          <p:nvPr userDrawn="1"/>
        </p:nvCxnSpPr>
        <p:spPr>
          <a:xfrm>
            <a:off x="1725476" y="3018964"/>
            <a:ext cx="891000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Sisällön paikkamerkki 2">
            <a:extLst>
              <a:ext uri="{FF2B5EF4-FFF2-40B4-BE49-F238E27FC236}">
                <a16:creationId xmlns:a16="http://schemas.microsoft.com/office/drawing/2014/main" id="{F583CD83-545C-171C-4D84-414CC98B339E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2690461" y="3097674"/>
            <a:ext cx="869552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5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6" name="Sisällön paikkamerkki 2">
            <a:extLst>
              <a:ext uri="{FF2B5EF4-FFF2-40B4-BE49-F238E27FC236}">
                <a16:creationId xmlns:a16="http://schemas.microsoft.com/office/drawing/2014/main" id="{C4CDDE22-F423-DA97-8FC9-A89179342FF7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2690461" y="2532216"/>
            <a:ext cx="869552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788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0DD906B-77D6-5C44-0D4D-D8C38BB072F3}"/>
              </a:ext>
            </a:extLst>
          </p:cNvPr>
          <p:cNvCxnSpPr>
            <a:cxnSpLocks/>
          </p:cNvCxnSpPr>
          <p:nvPr userDrawn="1"/>
        </p:nvCxnSpPr>
        <p:spPr>
          <a:xfrm>
            <a:off x="2680307" y="3018964"/>
            <a:ext cx="891000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Sisällön paikkamerkki 2">
            <a:extLst>
              <a:ext uri="{FF2B5EF4-FFF2-40B4-BE49-F238E27FC236}">
                <a16:creationId xmlns:a16="http://schemas.microsoft.com/office/drawing/2014/main" id="{B119ADC3-430C-7C21-76FD-0909437C1205}"/>
              </a:ext>
            </a:extLst>
          </p:cNvPr>
          <p:cNvSpPr>
            <a:spLocks noGrp="1"/>
          </p:cNvSpPr>
          <p:nvPr>
            <p:ph idx="35" hasCustomPrompt="1"/>
          </p:nvPr>
        </p:nvSpPr>
        <p:spPr>
          <a:xfrm>
            <a:off x="3635943" y="3097674"/>
            <a:ext cx="869552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5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0" name="Sisällön paikkamerkki 2">
            <a:extLst>
              <a:ext uri="{FF2B5EF4-FFF2-40B4-BE49-F238E27FC236}">
                <a16:creationId xmlns:a16="http://schemas.microsoft.com/office/drawing/2014/main" id="{0A59B008-4AC2-7A49-C619-BCC53E4654DF}"/>
              </a:ext>
            </a:extLst>
          </p:cNvPr>
          <p:cNvSpPr>
            <a:spLocks noGrp="1"/>
          </p:cNvSpPr>
          <p:nvPr>
            <p:ph idx="36" hasCustomPrompt="1"/>
          </p:nvPr>
        </p:nvSpPr>
        <p:spPr>
          <a:xfrm>
            <a:off x="3635943" y="2532216"/>
            <a:ext cx="869552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788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436833D-4FD7-EFC5-1013-015D2E462098}"/>
              </a:ext>
            </a:extLst>
          </p:cNvPr>
          <p:cNvCxnSpPr>
            <a:cxnSpLocks/>
          </p:cNvCxnSpPr>
          <p:nvPr userDrawn="1"/>
        </p:nvCxnSpPr>
        <p:spPr>
          <a:xfrm>
            <a:off x="3625789" y="3018964"/>
            <a:ext cx="891000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Sisällön paikkamerkki 2">
            <a:extLst>
              <a:ext uri="{FF2B5EF4-FFF2-40B4-BE49-F238E27FC236}">
                <a16:creationId xmlns:a16="http://schemas.microsoft.com/office/drawing/2014/main" id="{1DD480D0-EA3D-815E-9491-0BA7183A5F7D}"/>
              </a:ext>
            </a:extLst>
          </p:cNvPr>
          <p:cNvSpPr>
            <a:spLocks noGrp="1"/>
          </p:cNvSpPr>
          <p:nvPr>
            <p:ph idx="38" hasCustomPrompt="1"/>
          </p:nvPr>
        </p:nvSpPr>
        <p:spPr>
          <a:xfrm>
            <a:off x="4592719" y="3097674"/>
            <a:ext cx="869552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5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4" name="Sisällön paikkamerkki 2">
            <a:extLst>
              <a:ext uri="{FF2B5EF4-FFF2-40B4-BE49-F238E27FC236}">
                <a16:creationId xmlns:a16="http://schemas.microsoft.com/office/drawing/2014/main" id="{610B65D7-B312-710E-1E84-287DB01E7DA6}"/>
              </a:ext>
            </a:extLst>
          </p:cNvPr>
          <p:cNvSpPr>
            <a:spLocks noGrp="1"/>
          </p:cNvSpPr>
          <p:nvPr>
            <p:ph idx="39" hasCustomPrompt="1"/>
          </p:nvPr>
        </p:nvSpPr>
        <p:spPr>
          <a:xfrm>
            <a:off x="4592719" y="2532216"/>
            <a:ext cx="869552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788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2344BDA-9608-3094-B250-3BF92D67C2E2}"/>
              </a:ext>
            </a:extLst>
          </p:cNvPr>
          <p:cNvCxnSpPr>
            <a:cxnSpLocks/>
          </p:cNvCxnSpPr>
          <p:nvPr userDrawn="1"/>
        </p:nvCxnSpPr>
        <p:spPr>
          <a:xfrm>
            <a:off x="4582565" y="3018964"/>
            <a:ext cx="891000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Sisällön paikkamerkki 2">
            <a:extLst>
              <a:ext uri="{FF2B5EF4-FFF2-40B4-BE49-F238E27FC236}">
                <a16:creationId xmlns:a16="http://schemas.microsoft.com/office/drawing/2014/main" id="{7DD1E505-662A-A348-0BCB-53FEAB5D7B8F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5549496" y="3097674"/>
            <a:ext cx="869552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5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8" name="Sisällön paikkamerkki 2">
            <a:extLst>
              <a:ext uri="{FF2B5EF4-FFF2-40B4-BE49-F238E27FC236}">
                <a16:creationId xmlns:a16="http://schemas.microsoft.com/office/drawing/2014/main" id="{52B95D91-1965-D685-C683-76B9710A8AB8}"/>
              </a:ext>
            </a:extLst>
          </p:cNvPr>
          <p:cNvSpPr>
            <a:spLocks noGrp="1"/>
          </p:cNvSpPr>
          <p:nvPr>
            <p:ph idx="42" hasCustomPrompt="1"/>
          </p:nvPr>
        </p:nvSpPr>
        <p:spPr>
          <a:xfrm>
            <a:off x="5549496" y="2532216"/>
            <a:ext cx="869552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788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95DB6D-A7AC-70CE-7490-C0E7E2186357}"/>
              </a:ext>
            </a:extLst>
          </p:cNvPr>
          <p:cNvCxnSpPr>
            <a:cxnSpLocks/>
          </p:cNvCxnSpPr>
          <p:nvPr userDrawn="1"/>
        </p:nvCxnSpPr>
        <p:spPr>
          <a:xfrm>
            <a:off x="5539342" y="3018964"/>
            <a:ext cx="891000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Sisällön paikkamerkki 2">
            <a:extLst>
              <a:ext uri="{FF2B5EF4-FFF2-40B4-BE49-F238E27FC236}">
                <a16:creationId xmlns:a16="http://schemas.microsoft.com/office/drawing/2014/main" id="{25BC5577-87AE-4841-1BE0-D69B8E3AC0D7}"/>
              </a:ext>
            </a:extLst>
          </p:cNvPr>
          <p:cNvSpPr>
            <a:spLocks noGrp="1"/>
          </p:cNvSpPr>
          <p:nvPr>
            <p:ph idx="44" hasCustomPrompt="1"/>
          </p:nvPr>
        </p:nvSpPr>
        <p:spPr>
          <a:xfrm>
            <a:off x="6506272" y="3097674"/>
            <a:ext cx="869552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5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2" name="Sisällön paikkamerkki 2">
            <a:extLst>
              <a:ext uri="{FF2B5EF4-FFF2-40B4-BE49-F238E27FC236}">
                <a16:creationId xmlns:a16="http://schemas.microsoft.com/office/drawing/2014/main" id="{50D0ED19-A2A4-7F07-14A7-A9B2F78FA6FB}"/>
              </a:ext>
            </a:extLst>
          </p:cNvPr>
          <p:cNvSpPr>
            <a:spLocks noGrp="1"/>
          </p:cNvSpPr>
          <p:nvPr>
            <p:ph idx="45" hasCustomPrompt="1"/>
          </p:nvPr>
        </p:nvSpPr>
        <p:spPr>
          <a:xfrm>
            <a:off x="6506272" y="2532216"/>
            <a:ext cx="869552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788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F8418C4D-F748-D43D-D02E-AED00ECB1245}"/>
              </a:ext>
            </a:extLst>
          </p:cNvPr>
          <p:cNvCxnSpPr>
            <a:cxnSpLocks/>
          </p:cNvCxnSpPr>
          <p:nvPr userDrawn="1"/>
        </p:nvCxnSpPr>
        <p:spPr>
          <a:xfrm>
            <a:off x="6496118" y="3018964"/>
            <a:ext cx="891000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Sisällön paikkamerkki 2">
            <a:extLst>
              <a:ext uri="{FF2B5EF4-FFF2-40B4-BE49-F238E27FC236}">
                <a16:creationId xmlns:a16="http://schemas.microsoft.com/office/drawing/2014/main" id="{621209D4-54B8-CF29-7E26-A40529DCBB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7452895" y="3097674"/>
            <a:ext cx="869552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5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6" name="Sisällön paikkamerkki 2">
            <a:extLst>
              <a:ext uri="{FF2B5EF4-FFF2-40B4-BE49-F238E27FC236}">
                <a16:creationId xmlns:a16="http://schemas.microsoft.com/office/drawing/2014/main" id="{C9F099FE-E5EA-7AF2-D87B-AA4C760129DF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7452895" y="2532216"/>
            <a:ext cx="869552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788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6FEFCA49-0206-1521-E6F6-66F7F8712EF8}"/>
              </a:ext>
            </a:extLst>
          </p:cNvPr>
          <p:cNvCxnSpPr>
            <a:cxnSpLocks/>
          </p:cNvCxnSpPr>
          <p:nvPr userDrawn="1"/>
        </p:nvCxnSpPr>
        <p:spPr>
          <a:xfrm>
            <a:off x="7442741" y="3018964"/>
            <a:ext cx="891000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280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98972BB4-0264-BA46-90C1-529B34AD5727}"/>
              </a:ext>
            </a:extLst>
          </p:cNvPr>
          <p:cNvSpPr/>
          <p:nvPr userDrawn="1"/>
        </p:nvSpPr>
        <p:spPr>
          <a:xfrm>
            <a:off x="5952812" y="1499164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3CBEE3-7803-0D48-9C4D-40CBBD0B9607}"/>
              </a:ext>
            </a:extLst>
          </p:cNvPr>
          <p:cNvSpPr/>
          <p:nvPr userDrawn="1"/>
        </p:nvSpPr>
        <p:spPr>
          <a:xfrm>
            <a:off x="5952812" y="3125057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F70B23-9892-4741-8879-7A1EF1040693}"/>
              </a:ext>
            </a:extLst>
          </p:cNvPr>
          <p:cNvSpPr/>
          <p:nvPr userDrawn="1"/>
        </p:nvSpPr>
        <p:spPr>
          <a:xfrm>
            <a:off x="3428256" y="1499164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1426FCF-EEF7-9A47-A49A-21C060C68BA5}"/>
              </a:ext>
            </a:extLst>
          </p:cNvPr>
          <p:cNvSpPr/>
          <p:nvPr userDrawn="1"/>
        </p:nvSpPr>
        <p:spPr>
          <a:xfrm>
            <a:off x="3428256" y="3125057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C49897-AC1F-CF46-8660-BE39D13488ED}"/>
              </a:ext>
            </a:extLst>
          </p:cNvPr>
          <p:cNvSpPr/>
          <p:nvPr userDrawn="1"/>
        </p:nvSpPr>
        <p:spPr>
          <a:xfrm>
            <a:off x="901887" y="1499164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10" name="Sisällön paikkamerkki 2">
            <a:extLst>
              <a:ext uri="{FF2B5EF4-FFF2-40B4-BE49-F238E27FC236}">
                <a16:creationId xmlns:a16="http://schemas.microsoft.com/office/drawing/2014/main" id="{952F93AB-A726-0F4B-8F4F-26BDE3F4EE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0115" y="1562320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84CEF3-8FF7-3C47-8023-3009E72EC0A0}"/>
              </a:ext>
            </a:extLst>
          </p:cNvPr>
          <p:cNvSpPr/>
          <p:nvPr userDrawn="1"/>
        </p:nvSpPr>
        <p:spPr>
          <a:xfrm>
            <a:off x="901887" y="3125057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12" name="Sisällön paikkamerkki 2">
            <a:extLst>
              <a:ext uri="{FF2B5EF4-FFF2-40B4-BE49-F238E27FC236}">
                <a16:creationId xmlns:a16="http://schemas.microsoft.com/office/drawing/2014/main" id="{969E8070-17F5-3546-82D6-69D22E4C289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980115" y="3195319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isällön paikkamerkki 2">
            <a:extLst>
              <a:ext uri="{FF2B5EF4-FFF2-40B4-BE49-F238E27FC236}">
                <a16:creationId xmlns:a16="http://schemas.microsoft.com/office/drawing/2014/main" id="{30FF65DF-D5BA-7F44-A9D2-825D511D298A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508681" y="1562320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C357-2685-E14A-8D2D-97BB9FC3405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508681" y="3195319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Sisällön paikkamerkki 2">
            <a:extLst>
              <a:ext uri="{FF2B5EF4-FFF2-40B4-BE49-F238E27FC236}">
                <a16:creationId xmlns:a16="http://schemas.microsoft.com/office/drawing/2014/main" id="{F529E85D-15BF-BD46-B200-C52ADF8438C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033278" y="1562320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Sisällön paikkamerkki 2">
            <a:extLst>
              <a:ext uri="{FF2B5EF4-FFF2-40B4-BE49-F238E27FC236}">
                <a16:creationId xmlns:a16="http://schemas.microsoft.com/office/drawing/2014/main" id="{87D1DB19-21C9-2648-9FD6-A5BF21397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33278" y="3195319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Otsikko 1">
            <a:extLst>
              <a:ext uri="{FF2B5EF4-FFF2-40B4-BE49-F238E27FC236}">
                <a16:creationId xmlns:a16="http://schemas.microsoft.com/office/drawing/2014/main" id="{696423B3-1699-CD42-B0C8-BEB8E7B14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8490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rk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5C9D464-2FCE-544F-8908-1B27343985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F858F56-8AF5-FA46-823F-42256AAE1525}"/>
              </a:ext>
            </a:extLst>
          </p:cNvPr>
          <p:cNvSpPr/>
          <p:nvPr userDrawn="1"/>
        </p:nvSpPr>
        <p:spPr>
          <a:xfrm>
            <a:off x="0" y="0"/>
            <a:ext cx="5537200" cy="51435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lumMod val="95000"/>
                  <a:lumOff val="5000"/>
                  <a:alpha val="0"/>
                </a:schemeClr>
              </a:gs>
            </a:gsLst>
            <a:lin ang="0" scaled="0"/>
          </a:gra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7" name="Sisällön paikkamerkki 2">
            <a:extLst>
              <a:ext uri="{FF2B5EF4-FFF2-40B4-BE49-F238E27FC236}">
                <a16:creationId xmlns:a16="http://schemas.microsoft.com/office/drawing/2014/main" id="{3EDCD99F-20E8-8E42-9353-7A90368D4E7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00113" y="1219201"/>
            <a:ext cx="3278310" cy="3656761"/>
          </a:xfr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4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2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2pPr>
            <a:lvl3pPr marL="305993" indent="-179996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Otsikko 1">
            <a:extLst>
              <a:ext uri="{FF2B5EF4-FFF2-40B4-BE49-F238E27FC236}">
                <a16:creationId xmlns:a16="http://schemas.microsoft.com/office/drawing/2014/main" id="{41FA286F-0386-4A47-A899-205154CA3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978" y="541338"/>
            <a:ext cx="3278446" cy="555096"/>
          </a:xfrm>
        </p:spPr>
        <p:txBody>
          <a:bodyPr lIns="90000" anchor="t" anchorCtr="0">
            <a:normAutofit/>
          </a:bodyPr>
          <a:lstStyle>
            <a:lvl1pPr>
              <a:defRPr sz="1800" b="0" i="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57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rk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5C9D464-2FCE-544F-8908-1B27343985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700" y="1"/>
            <a:ext cx="9144000" cy="5143500"/>
          </a:xfrm>
          <a:prstGeom prst="rect">
            <a:avLst/>
          </a:prstGeom>
        </p:spPr>
      </p:pic>
      <p:sp>
        <p:nvSpPr>
          <p:cNvPr id="16" name="Otsikko 1">
            <a:extLst>
              <a:ext uri="{FF2B5EF4-FFF2-40B4-BE49-F238E27FC236}">
                <a16:creationId xmlns:a16="http://schemas.microsoft.com/office/drawing/2014/main" id="{D4706C1B-982F-5A4D-AF6E-C76631750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977" y="541338"/>
            <a:ext cx="4905837" cy="555096"/>
          </a:xfrm>
        </p:spPr>
        <p:txBody>
          <a:bodyPr lIns="90000" anchor="t" anchorCtr="0">
            <a:normAutofit/>
          </a:bodyPr>
          <a:lstStyle>
            <a:lvl1pPr>
              <a:defRPr sz="1800" b="0" i="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7" name="Sisällön paikkamerkki 2">
            <a:extLst>
              <a:ext uri="{FF2B5EF4-FFF2-40B4-BE49-F238E27FC236}">
                <a16:creationId xmlns:a16="http://schemas.microsoft.com/office/drawing/2014/main" id="{F97D0D8F-DA6E-FF41-B93C-F13CAAC78C5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603707" y="1219201"/>
            <a:ext cx="2577888" cy="3656761"/>
          </a:xfr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4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2pPr>
            <a:lvl3pPr marL="0" indent="-179996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3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9996" indent="-107997">
              <a:spcBef>
                <a:spcPts val="600"/>
              </a:spcBef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Sisällön paikkamerkki 2">
            <a:extLst>
              <a:ext uri="{FF2B5EF4-FFF2-40B4-BE49-F238E27FC236}">
                <a16:creationId xmlns:a16="http://schemas.microsoft.com/office/drawing/2014/main" id="{5FD1E869-7CFE-A44A-91BB-346710EB07F4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900113" y="1219201"/>
            <a:ext cx="2557071" cy="3656761"/>
          </a:xfr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4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2pPr>
            <a:lvl3pPr marL="0" indent="-179996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3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9996" indent="-107997">
              <a:spcBef>
                <a:spcPts val="600"/>
              </a:spcBef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04527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er 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 hasCustomPrompt="1"/>
          </p:nvPr>
        </p:nvSpPr>
        <p:spPr>
          <a:xfrm>
            <a:off x="900113" y="1627705"/>
            <a:ext cx="2254338" cy="1270473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46" indent="-171446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Sisällön paikkamerkki 2">
            <a:extLst>
              <a:ext uri="{FF2B5EF4-FFF2-40B4-BE49-F238E27FC236}">
                <a16:creationId xmlns:a16="http://schemas.microsoft.com/office/drawing/2014/main" id="{FA32DFF2-BD39-B743-BE1B-8725DE77791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305382" y="1627705"/>
            <a:ext cx="2482939" cy="1270473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46" indent="-171446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Sisällön paikkamerkki 2">
            <a:extLst>
              <a:ext uri="{FF2B5EF4-FFF2-40B4-BE49-F238E27FC236}">
                <a16:creationId xmlns:a16="http://schemas.microsoft.com/office/drawing/2014/main" id="{3DD24FFD-9490-B14C-8AC4-DC7FDC6080A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900113" y="3163302"/>
            <a:ext cx="2254338" cy="914768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46" indent="-171446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Sisällön paikkamerkki 2">
            <a:extLst>
              <a:ext uri="{FF2B5EF4-FFF2-40B4-BE49-F238E27FC236}">
                <a16:creationId xmlns:a16="http://schemas.microsoft.com/office/drawing/2014/main" id="{0224A612-F788-FB4B-8E66-7E818F5690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05382" y="3163302"/>
            <a:ext cx="2482939" cy="914768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46" indent="-171446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Sisällön paikkamerkki 2">
            <a:extLst>
              <a:ext uri="{FF2B5EF4-FFF2-40B4-BE49-F238E27FC236}">
                <a16:creationId xmlns:a16="http://schemas.microsoft.com/office/drawing/2014/main" id="{2E7079A5-0FA8-5742-ACBB-2F365C5D4B1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930706" y="1627705"/>
            <a:ext cx="2885473" cy="2450364"/>
          </a:xfrm>
        </p:spPr>
        <p:txBody>
          <a:bodyPr wrap="square" l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2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171446" indent="-171446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522D373-F15B-7945-A09D-7002ED422606}"/>
              </a:ext>
            </a:extLst>
          </p:cNvPr>
          <p:cNvGrpSpPr/>
          <p:nvPr userDrawn="1"/>
        </p:nvGrpSpPr>
        <p:grpSpPr>
          <a:xfrm>
            <a:off x="900113" y="1370124"/>
            <a:ext cx="2254338" cy="276999"/>
            <a:chOff x="886427" y="1590261"/>
            <a:chExt cx="2254338" cy="27699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8CA8D17-2432-074A-B244-0465E7F5D011}"/>
                </a:ext>
              </a:extLst>
            </p:cNvPr>
            <p:cNvSpPr txBox="1"/>
            <p:nvPr userDrawn="1"/>
          </p:nvSpPr>
          <p:spPr>
            <a:xfrm>
              <a:off x="886427" y="1590261"/>
              <a:ext cx="1585663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Key </a:t>
              </a:r>
              <a:r>
                <a:rPr lang="en-US" sz="1200" b="0" i="0" noProof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businesses</a:t>
              </a:r>
              <a:r>
                <a:rPr lang="en-US" sz="1200" b="0" i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: 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9752BF6-EBAA-984C-8163-2C4A82017E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86427" y="1827959"/>
              <a:ext cx="2254338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C490A09-8E0E-354C-BC24-2000EBED6F24}"/>
              </a:ext>
            </a:extLst>
          </p:cNvPr>
          <p:cNvGrpSpPr/>
          <p:nvPr userDrawn="1"/>
        </p:nvGrpSpPr>
        <p:grpSpPr>
          <a:xfrm>
            <a:off x="3295444" y="1370130"/>
            <a:ext cx="2254338" cy="276999"/>
            <a:chOff x="3281758" y="1590261"/>
            <a:chExt cx="2254338" cy="276999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EFC348D-2280-8649-80FC-9853A12A6159}"/>
                </a:ext>
              </a:extLst>
            </p:cNvPr>
            <p:cNvSpPr txBox="1"/>
            <p:nvPr userDrawn="1"/>
          </p:nvSpPr>
          <p:spPr>
            <a:xfrm>
              <a:off x="3294095" y="1590261"/>
              <a:ext cx="1388522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Why Emberion: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BA21A42-D780-9C4E-9AE6-F2B82A7AC9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281758" y="1827959"/>
              <a:ext cx="2254338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921968-7B3F-1E44-8025-E45CB40FB413}"/>
              </a:ext>
            </a:extLst>
          </p:cNvPr>
          <p:cNvGrpSpPr/>
          <p:nvPr userDrawn="1"/>
        </p:nvGrpSpPr>
        <p:grpSpPr>
          <a:xfrm>
            <a:off x="900113" y="2917613"/>
            <a:ext cx="2254338" cy="276999"/>
            <a:chOff x="886427" y="3137742"/>
            <a:chExt cx="2254338" cy="27699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E899BFA-EB6A-BA4F-BA24-AAC0AEFB609E}"/>
                </a:ext>
              </a:extLst>
            </p:cNvPr>
            <p:cNvSpPr txBox="1"/>
            <p:nvPr userDrawn="1"/>
          </p:nvSpPr>
          <p:spPr>
            <a:xfrm>
              <a:off x="886427" y="3137742"/>
              <a:ext cx="1603324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 noProof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Company profile: 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E38DC18-3D13-684A-AC5A-89FCBEB25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86427" y="3363554"/>
              <a:ext cx="2254338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C473A63-A7A9-1B4A-8135-A9263C0C40A8}"/>
              </a:ext>
            </a:extLst>
          </p:cNvPr>
          <p:cNvGrpSpPr/>
          <p:nvPr userDrawn="1"/>
        </p:nvGrpSpPr>
        <p:grpSpPr>
          <a:xfrm>
            <a:off x="3295444" y="2917607"/>
            <a:ext cx="2254338" cy="276999"/>
            <a:chOff x="3281758" y="3137741"/>
            <a:chExt cx="2254338" cy="276999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D983FEE-499E-6F4A-BFA9-BF26D6E40EB1}"/>
                </a:ext>
              </a:extLst>
            </p:cNvPr>
            <p:cNvSpPr txBox="1"/>
            <p:nvPr userDrawn="1"/>
          </p:nvSpPr>
          <p:spPr>
            <a:xfrm>
              <a:off x="3294095" y="3137741"/>
              <a:ext cx="1314784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 noProof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Collaboration: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A0639D36-70DA-584C-9F06-39D5D88F0F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281758" y="3363554"/>
              <a:ext cx="2254338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0344D9E-F9DE-8A4B-836C-4C45BC9E3CC9}"/>
              </a:ext>
            </a:extLst>
          </p:cNvPr>
          <p:cNvGrpSpPr/>
          <p:nvPr userDrawn="1"/>
        </p:nvGrpSpPr>
        <p:grpSpPr>
          <a:xfrm>
            <a:off x="5925565" y="1370130"/>
            <a:ext cx="3070269" cy="276999"/>
            <a:chOff x="5925564" y="1590261"/>
            <a:chExt cx="3070269" cy="27699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9D4BD9A-C8D3-B043-BEA0-D6ACC6CB5A9B}"/>
                </a:ext>
              </a:extLst>
            </p:cNvPr>
            <p:cNvSpPr txBox="1"/>
            <p:nvPr userDrawn="1"/>
          </p:nvSpPr>
          <p:spPr>
            <a:xfrm>
              <a:off x="5925564" y="1590261"/>
              <a:ext cx="3070269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b="0" i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Examples of potential product integration: </a:t>
              </a: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679AEE7-ECAF-1F4E-A8FD-9C242E42BCF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25737" y="1827959"/>
              <a:ext cx="2890441" cy="0"/>
            </a:xfrm>
            <a:prstGeom prst="line">
              <a:avLst/>
            </a:prstGeom>
            <a:ln>
              <a:solidFill>
                <a:srgbClr val="B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Otsikko 1">
            <a:extLst>
              <a:ext uri="{FF2B5EF4-FFF2-40B4-BE49-F238E27FC236}">
                <a16:creationId xmlns:a16="http://schemas.microsoft.com/office/drawing/2014/main" id="{6FF66E7A-3DEB-7D4E-B8A4-C974DD714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36D0E98-84F5-A94B-88CE-6147AFE9988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16102" y="4677834"/>
            <a:ext cx="1231899" cy="337892"/>
          </a:xfrm>
        </p:spPr>
        <p:txBody>
          <a:bodyPr/>
          <a:lstStyle/>
          <a:p>
            <a:endParaRPr lang="fi-FI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A089840-6AB6-3348-9675-6E92C39A0E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5734" y="4858326"/>
            <a:ext cx="614437" cy="94529"/>
          </a:xfrm>
          <a:prstGeom prst="rect">
            <a:avLst/>
          </a:prstGeom>
        </p:spPr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B5B0AD6-FA62-5D42-BC4B-CBCD0A0141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19333" y="4791257"/>
            <a:ext cx="1575330" cy="263343"/>
          </a:xfrm>
        </p:spPr>
        <p:txBody>
          <a:bodyPr/>
          <a:lstStyle>
            <a:lvl1pPr algn="r"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buNone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09903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Slide - Header + 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6234FB49-9D02-DE41-8440-B23FE5E2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C2FBFAF0-A693-604F-8DDD-4E26EB2945A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49718" y="1701801"/>
            <a:ext cx="3653449" cy="281662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539987" indent="-107997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isällön paikkamerkki 2">
            <a:extLst>
              <a:ext uri="{FF2B5EF4-FFF2-40B4-BE49-F238E27FC236}">
                <a16:creationId xmlns:a16="http://schemas.microsoft.com/office/drawing/2014/main" id="{3461C88D-D2DE-034A-907B-4DAFE52DC5C7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99593" y="1701801"/>
            <a:ext cx="3653449" cy="281662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539987" indent="-107997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5170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0B8B49-D585-1B49-B02F-C2DA0FE7A3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2760133"/>
            <a:ext cx="6858000" cy="1260475"/>
          </a:xfrm>
        </p:spPr>
        <p:txBody>
          <a:bodyPr anchor="t" anchorCtr="0">
            <a:normAutofit/>
          </a:bodyPr>
          <a:lstStyle>
            <a:lvl1pPr algn="ctr">
              <a:defRPr sz="3600"/>
            </a:lvl1pPr>
          </a:lstStyle>
          <a:p>
            <a:r>
              <a:rPr lang="en-GB"/>
              <a:t>Click to edit Master title style</a:t>
            </a:r>
            <a:endParaRPr lang="en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8053F0-9C37-254C-B1A6-F08D6AD0E8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4106334"/>
            <a:ext cx="6858000" cy="637547"/>
          </a:xfrm>
        </p:spPr>
        <p:txBody>
          <a:bodyPr>
            <a:normAutofit/>
          </a:bodyPr>
          <a:lstStyle>
            <a:lvl1pPr marL="0" indent="0" algn="ctr">
              <a:lnSpc>
                <a:spcPct val="110000"/>
              </a:lnSpc>
              <a:buNone/>
              <a:defRPr sz="1000"/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74931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3679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6624000" y="4608000"/>
            <a:ext cx="1800000" cy="3600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00">
                <a:latin typeface="Century Gothic" panose="020B0502020202020204" pitchFamily="34" charset="0"/>
              </a:defRPr>
            </a:lvl1pPr>
          </a:lstStyle>
          <a:p>
            <a:r>
              <a:rPr lang="fi-FI"/>
              <a:t>© Emberion 2021</a:t>
            </a:r>
          </a:p>
          <a:p>
            <a:r>
              <a:rPr lang="fi-FI"/>
              <a:t>Company Confidential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8424000" y="4788000"/>
            <a:ext cx="540000" cy="180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>
                <a:latin typeface="Century Gothic" panose="020B0502020202020204" pitchFamily="34" charset="0"/>
              </a:defRPr>
            </a:lvl1pPr>
          </a:lstStyle>
          <a:p>
            <a:fld id="{F742C6BC-3362-4625-BA5D-F4AEE97F692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326644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7090975" y="4698000"/>
            <a:ext cx="1800000" cy="360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© Emberion 2021</a:t>
            </a:r>
          </a:p>
          <a:p>
            <a:r>
              <a:rPr lang="fi-FI"/>
              <a:t>Company </a:t>
            </a:r>
            <a:r>
              <a:rPr lang="fi-FI" err="1"/>
              <a:t>Confidential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8935548" y="4788000"/>
            <a:ext cx="191476" cy="180000"/>
          </a:xfrm>
          <a:prstGeom prst="rect">
            <a:avLst/>
          </a:prstGeom>
        </p:spPr>
        <p:txBody>
          <a:bodyPr/>
          <a:lstStyle/>
          <a:p>
            <a:fld id="{F742C6BC-3362-4625-BA5D-F4AEE97F692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118793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>
          <a:xfrm>
            <a:off x="7090975" y="4698000"/>
            <a:ext cx="1800000" cy="360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© Emberion 2021</a:t>
            </a:r>
          </a:p>
          <a:p>
            <a:r>
              <a:rPr lang="fi-FI"/>
              <a:t>Company </a:t>
            </a:r>
            <a:r>
              <a:rPr lang="fi-FI" err="1"/>
              <a:t>Confidential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>
          <a:xfrm>
            <a:off x="8935548" y="4788000"/>
            <a:ext cx="191476" cy="180000"/>
          </a:xfrm>
          <a:prstGeom prst="rect">
            <a:avLst/>
          </a:prstGeom>
        </p:spPr>
        <p:txBody>
          <a:bodyPr/>
          <a:lstStyle/>
          <a:p>
            <a:fld id="{F742C6BC-3362-4625-BA5D-F4AEE97F692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413075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>
          <a:xfrm>
            <a:off x="7090975" y="4698000"/>
            <a:ext cx="1800000" cy="360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© Emberion 2021</a:t>
            </a:r>
          </a:p>
          <a:p>
            <a:r>
              <a:rPr lang="fi-FI"/>
              <a:t>Company </a:t>
            </a:r>
            <a:r>
              <a:rPr lang="fi-FI" err="1"/>
              <a:t>Confidential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>
          <a:xfrm>
            <a:off x="8935548" y="4788000"/>
            <a:ext cx="191476" cy="180000"/>
          </a:xfrm>
          <a:prstGeom prst="rect">
            <a:avLst/>
          </a:prstGeom>
        </p:spPr>
        <p:txBody>
          <a:bodyPr/>
          <a:lstStyle/>
          <a:p>
            <a:fld id="{F742C6BC-3362-4625-BA5D-F4AEE97F692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148629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7090975" y="4698000"/>
            <a:ext cx="1800000" cy="360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© Emberion 2021</a:t>
            </a:r>
          </a:p>
          <a:p>
            <a:r>
              <a:rPr lang="fi-FI"/>
              <a:t>Company </a:t>
            </a:r>
            <a:r>
              <a:rPr lang="fi-FI" err="1"/>
              <a:t>Confidential</a:t>
            </a:r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935548" y="4788000"/>
            <a:ext cx="191476" cy="180000"/>
          </a:xfrm>
          <a:prstGeom prst="rect">
            <a:avLst/>
          </a:prstGeom>
        </p:spPr>
        <p:txBody>
          <a:bodyPr/>
          <a:lstStyle/>
          <a:p>
            <a:fld id="{F742C6BC-3362-4625-BA5D-F4AEE97F692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398476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ic Slide - 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6234FB49-9D02-DE41-8440-B23FE5E2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19948"/>
            <a:ext cx="7986395" cy="244873"/>
          </a:xfrm>
          <a:prstGeom prst="rect">
            <a:avLst/>
          </a:prstGeom>
        </p:spPr>
        <p:txBody>
          <a:bodyPr lIns="36000" anchor="ctr" anchorCtr="0">
            <a:noAutofit/>
          </a:bodyPr>
          <a:lstStyle>
            <a:lvl1pPr>
              <a:defRPr sz="225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Sisällön paikkamerkki 2">
            <a:extLst>
              <a:ext uri="{FF2B5EF4-FFF2-40B4-BE49-F238E27FC236}">
                <a16:creationId xmlns:a16="http://schemas.microsoft.com/office/drawing/2014/main" id="{5E9389AD-2668-514C-BCA0-2637F290DF06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88951" y="889001"/>
            <a:ext cx="7986395" cy="362942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chemeClr val="tx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539987" indent="-107997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73CA2A-534A-4693-9A76-75AD864215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8950" y="521335"/>
            <a:ext cx="7986395" cy="31115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400">
                <a:solidFill>
                  <a:srgbClr val="FF7F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C799D0B5-BB87-79BF-EE97-B876B02DB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6149" y="4867177"/>
            <a:ext cx="281555" cy="226317"/>
          </a:xfrm>
          <a:prstGeom prst="rect">
            <a:avLst/>
          </a:prstGeom>
        </p:spPr>
        <p:txBody>
          <a:bodyPr anchor="ctr"/>
          <a:lstStyle>
            <a:lvl1pPr algn="ctr">
              <a:defRPr sz="825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>
              <a:defRPr/>
            </a:pPr>
            <a:fld id="{8A5E552F-9C1E-412F-BFB9-F0B1BD6D0DD5}" type="slidenum">
              <a:rPr lang="fi-FI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424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Slide - Header + 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isällön paikkamerkki 2">
            <a:extLst>
              <a:ext uri="{FF2B5EF4-FFF2-40B4-BE49-F238E27FC236}">
                <a16:creationId xmlns:a16="http://schemas.microsoft.com/office/drawing/2014/main" id="{952F93AB-A726-0F4B-8F4F-26BDE3F4EE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04087" y="3738666"/>
            <a:ext cx="2491550" cy="1069044"/>
          </a:xfrm>
        </p:spPr>
        <p:txBody>
          <a:bodyPr lIns="0" tIns="0" rIns="0" bIns="0">
            <a:normAutofit/>
          </a:bodyPr>
          <a:lstStyle>
            <a:lvl1pPr marL="107997" indent="-107997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Sisällön paikkamerkki 2">
            <a:extLst>
              <a:ext uri="{FF2B5EF4-FFF2-40B4-BE49-F238E27FC236}">
                <a16:creationId xmlns:a16="http://schemas.microsoft.com/office/drawing/2014/main" id="{DA28DB8B-84B2-BA45-918B-F12F2B96D1BF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904088" y="2225732"/>
            <a:ext cx="2139100" cy="211025"/>
          </a:xfrm>
        </p:spPr>
        <p:txBody>
          <a:bodyPr lIns="0" tIns="0" rIns="0" bIns="0">
            <a:normAutofit/>
          </a:bodyPr>
          <a:lstStyle>
            <a:lvl1pPr marL="0" indent="0">
              <a:spcAft>
                <a:spcPts val="600"/>
              </a:spcAft>
              <a:buNone/>
              <a:defRPr sz="12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isällön paikkamerkki 2">
            <a:extLst>
              <a:ext uri="{FF2B5EF4-FFF2-40B4-BE49-F238E27FC236}">
                <a16:creationId xmlns:a16="http://schemas.microsoft.com/office/drawing/2014/main" id="{8D613E31-EAC0-CE41-BE09-ECCEED39F1FA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3498020" y="2225732"/>
            <a:ext cx="2136291" cy="211025"/>
          </a:xfrm>
        </p:spPr>
        <p:txBody>
          <a:bodyPr lIns="0" tIns="0" rIns="0" bIns="0">
            <a:normAutofit/>
          </a:bodyPr>
          <a:lstStyle>
            <a:lvl1pPr marL="0" indent="0">
              <a:spcAft>
                <a:spcPts val="600"/>
              </a:spcAft>
              <a:buNone/>
              <a:defRPr sz="12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Bef>
                <a:spcPts val="24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04B617F6-5CC1-4C43-B007-62E99877D232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6088366" y="2225732"/>
            <a:ext cx="2136291" cy="211025"/>
          </a:xfrm>
        </p:spPr>
        <p:txBody>
          <a:bodyPr lIns="0" tIns="0" rIns="0" bIns="0">
            <a:normAutofit/>
          </a:bodyPr>
          <a:lstStyle>
            <a:lvl1pPr marL="0" indent="0">
              <a:spcAft>
                <a:spcPts val="600"/>
              </a:spcAft>
              <a:buNone/>
              <a:defRPr sz="12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Bef>
                <a:spcPts val="24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isällön paikkamerkki 2">
            <a:extLst>
              <a:ext uri="{FF2B5EF4-FFF2-40B4-BE49-F238E27FC236}">
                <a16:creationId xmlns:a16="http://schemas.microsoft.com/office/drawing/2014/main" id="{694AB77B-71E2-5949-8B93-460D291AEC8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495211" y="3738666"/>
            <a:ext cx="2495345" cy="1069044"/>
          </a:xfrm>
        </p:spPr>
        <p:txBody>
          <a:bodyPr lIns="0" tIns="0" rIns="0" bIns="0">
            <a:normAutofit/>
          </a:bodyPr>
          <a:lstStyle>
            <a:lvl1pPr marL="107997" indent="-107997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isällön paikkamerkki 2">
            <a:extLst>
              <a:ext uri="{FF2B5EF4-FFF2-40B4-BE49-F238E27FC236}">
                <a16:creationId xmlns:a16="http://schemas.microsoft.com/office/drawing/2014/main" id="{E250AB0D-415C-2C49-989D-6EBC34EBE57D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088367" y="3738666"/>
            <a:ext cx="2139100" cy="1069044"/>
          </a:xfrm>
        </p:spPr>
        <p:txBody>
          <a:bodyPr lIns="0" tIns="0" rIns="0" bIns="0">
            <a:normAutofit/>
          </a:bodyPr>
          <a:lstStyle>
            <a:lvl1pPr marL="107997" indent="-107997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marR="0" indent="-107997" algn="l" defTabSz="914378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6D1ECE8-317D-D94A-9032-B38292F8ACF6}"/>
              </a:ext>
            </a:extLst>
          </p:cNvPr>
          <p:cNvCxnSpPr>
            <a:cxnSpLocks/>
          </p:cNvCxnSpPr>
          <p:nvPr userDrawn="1"/>
        </p:nvCxnSpPr>
        <p:spPr>
          <a:xfrm>
            <a:off x="904088" y="2472249"/>
            <a:ext cx="2139100" cy="0"/>
          </a:xfrm>
          <a:prstGeom prst="line">
            <a:avLst/>
          </a:prstGeom>
          <a:ln w="2222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8427E60-0C67-164A-9DCA-9F1A9E16B0CB}"/>
              </a:ext>
            </a:extLst>
          </p:cNvPr>
          <p:cNvCxnSpPr>
            <a:cxnSpLocks/>
          </p:cNvCxnSpPr>
          <p:nvPr userDrawn="1"/>
        </p:nvCxnSpPr>
        <p:spPr>
          <a:xfrm>
            <a:off x="3487758" y="2472249"/>
            <a:ext cx="2139100" cy="0"/>
          </a:xfrm>
          <a:prstGeom prst="line">
            <a:avLst/>
          </a:prstGeom>
          <a:ln w="2222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F37559D-0827-5040-A358-F8F68E637B72}"/>
              </a:ext>
            </a:extLst>
          </p:cNvPr>
          <p:cNvCxnSpPr>
            <a:cxnSpLocks/>
          </p:cNvCxnSpPr>
          <p:nvPr userDrawn="1"/>
        </p:nvCxnSpPr>
        <p:spPr>
          <a:xfrm>
            <a:off x="6078566" y="2472249"/>
            <a:ext cx="2139100" cy="0"/>
          </a:xfrm>
          <a:prstGeom prst="line">
            <a:avLst/>
          </a:prstGeom>
          <a:ln w="2222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tsikko 1">
            <a:extLst>
              <a:ext uri="{FF2B5EF4-FFF2-40B4-BE49-F238E27FC236}">
                <a16:creationId xmlns:a16="http://schemas.microsoft.com/office/drawing/2014/main" id="{4CF76CD2-FFA3-4D44-AB80-2A075694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44410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isällön paikkamerkki 2">
            <a:extLst>
              <a:ext uri="{FF2B5EF4-FFF2-40B4-BE49-F238E27FC236}">
                <a16:creationId xmlns:a16="http://schemas.microsoft.com/office/drawing/2014/main" id="{952F93AB-A726-0F4B-8F4F-26BDE3F4EE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99856" y="3097674"/>
            <a:ext cx="1149080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Sisällön paikkamerkki 2">
            <a:extLst>
              <a:ext uri="{FF2B5EF4-FFF2-40B4-BE49-F238E27FC236}">
                <a16:creationId xmlns:a16="http://schemas.microsoft.com/office/drawing/2014/main" id="{DA28DB8B-84B2-BA45-918B-F12F2B96D1BF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899856" y="2454690"/>
            <a:ext cx="1149080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10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6D1ECE8-317D-D94A-9032-B38292F8ACF6}"/>
              </a:ext>
            </a:extLst>
          </p:cNvPr>
          <p:cNvCxnSpPr>
            <a:cxnSpLocks/>
          </p:cNvCxnSpPr>
          <p:nvPr userDrawn="1"/>
        </p:nvCxnSpPr>
        <p:spPr>
          <a:xfrm>
            <a:off x="884768" y="3018964"/>
            <a:ext cx="1185333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F5A83EE-454A-8141-ACA2-8BB3A3F1151B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5407" y="1147232"/>
            <a:ext cx="1139825" cy="1254921"/>
          </a:xfrm>
        </p:spPr>
        <p:txBody>
          <a:bodyPr/>
          <a:lstStyle/>
          <a:p>
            <a:r>
              <a:rPr lang="fi-FI"/>
              <a:t>v</a:t>
            </a:r>
          </a:p>
        </p:txBody>
      </p:sp>
      <p:sp>
        <p:nvSpPr>
          <p:cNvPr id="20" name="Sisällön paikkamerkki 2">
            <a:extLst>
              <a:ext uri="{FF2B5EF4-FFF2-40B4-BE49-F238E27FC236}">
                <a16:creationId xmlns:a16="http://schemas.microsoft.com/office/drawing/2014/main" id="{0708D428-49E8-194D-A1D3-01A2FA563E43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2173213" y="3097674"/>
            <a:ext cx="1149080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Sisällön paikkamerkki 2">
            <a:extLst>
              <a:ext uri="{FF2B5EF4-FFF2-40B4-BE49-F238E27FC236}">
                <a16:creationId xmlns:a16="http://schemas.microsoft.com/office/drawing/2014/main" id="{B5FE33C1-3966-9B47-8E21-BE371FF1CAD1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2173213" y="2454690"/>
            <a:ext cx="1149080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10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A127DD4-6086-9B4C-9D5D-E331BFEB2EB1}"/>
              </a:ext>
            </a:extLst>
          </p:cNvPr>
          <p:cNvCxnSpPr>
            <a:cxnSpLocks/>
          </p:cNvCxnSpPr>
          <p:nvPr userDrawn="1"/>
        </p:nvCxnSpPr>
        <p:spPr>
          <a:xfrm>
            <a:off x="2158126" y="3018964"/>
            <a:ext cx="1185333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371A1E8B-57CE-624B-8E91-5A0E31D2B0C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177479" y="1147232"/>
            <a:ext cx="1139825" cy="1254921"/>
          </a:xfrm>
        </p:spPr>
        <p:txBody>
          <a:bodyPr/>
          <a:lstStyle/>
          <a:p>
            <a:r>
              <a:rPr lang="fi-FI"/>
              <a:t>v</a:t>
            </a:r>
          </a:p>
        </p:txBody>
      </p:sp>
      <p:sp>
        <p:nvSpPr>
          <p:cNvPr id="24" name="Sisällön paikkamerkki 2">
            <a:extLst>
              <a:ext uri="{FF2B5EF4-FFF2-40B4-BE49-F238E27FC236}">
                <a16:creationId xmlns:a16="http://schemas.microsoft.com/office/drawing/2014/main" id="{FAE4F67C-6890-6248-90E8-0EA97D6E2CBD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3448150" y="3097674"/>
            <a:ext cx="1149080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Sisällön paikkamerkki 2">
            <a:extLst>
              <a:ext uri="{FF2B5EF4-FFF2-40B4-BE49-F238E27FC236}">
                <a16:creationId xmlns:a16="http://schemas.microsoft.com/office/drawing/2014/main" id="{40212FCF-B7C2-5547-9BDB-D98DD4033EC6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448150" y="2454690"/>
            <a:ext cx="1149080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10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2F57519-EDB6-074E-ADA8-EA89647910B1}"/>
              </a:ext>
            </a:extLst>
          </p:cNvPr>
          <p:cNvCxnSpPr>
            <a:cxnSpLocks/>
          </p:cNvCxnSpPr>
          <p:nvPr userDrawn="1"/>
        </p:nvCxnSpPr>
        <p:spPr>
          <a:xfrm>
            <a:off x="3433064" y="3018964"/>
            <a:ext cx="1185333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EB237DBB-1F31-C14A-98E3-6B8400FE94E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449551" y="1147232"/>
            <a:ext cx="1139825" cy="1254921"/>
          </a:xfrm>
        </p:spPr>
        <p:txBody>
          <a:bodyPr/>
          <a:lstStyle/>
          <a:p>
            <a:r>
              <a:rPr lang="fi-FI"/>
              <a:t>v</a:t>
            </a:r>
          </a:p>
        </p:txBody>
      </p:sp>
      <p:sp>
        <p:nvSpPr>
          <p:cNvPr id="28" name="Sisällön paikkamerkki 2">
            <a:extLst>
              <a:ext uri="{FF2B5EF4-FFF2-40B4-BE49-F238E27FC236}">
                <a16:creationId xmlns:a16="http://schemas.microsoft.com/office/drawing/2014/main" id="{086BB71E-5F6D-2C4C-A43E-4BCE2CC0D580}"/>
              </a:ext>
            </a:extLst>
          </p:cNvPr>
          <p:cNvSpPr>
            <a:spLocks noGrp="1"/>
          </p:cNvSpPr>
          <p:nvPr>
            <p:ph idx="35" hasCustomPrompt="1"/>
          </p:nvPr>
        </p:nvSpPr>
        <p:spPr>
          <a:xfrm>
            <a:off x="4723039" y="3097674"/>
            <a:ext cx="1149080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Sisällön paikkamerkki 2">
            <a:extLst>
              <a:ext uri="{FF2B5EF4-FFF2-40B4-BE49-F238E27FC236}">
                <a16:creationId xmlns:a16="http://schemas.microsoft.com/office/drawing/2014/main" id="{0B4D48B1-BE9F-FF40-A2ED-5594471E3372}"/>
              </a:ext>
            </a:extLst>
          </p:cNvPr>
          <p:cNvSpPr>
            <a:spLocks noGrp="1"/>
          </p:cNvSpPr>
          <p:nvPr>
            <p:ph idx="36" hasCustomPrompt="1"/>
          </p:nvPr>
        </p:nvSpPr>
        <p:spPr>
          <a:xfrm>
            <a:off x="4723039" y="2454690"/>
            <a:ext cx="1149080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10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F44505A-F301-AD40-A3E8-E4BCE79770E2}"/>
              </a:ext>
            </a:extLst>
          </p:cNvPr>
          <p:cNvCxnSpPr>
            <a:cxnSpLocks/>
          </p:cNvCxnSpPr>
          <p:nvPr userDrawn="1"/>
        </p:nvCxnSpPr>
        <p:spPr>
          <a:xfrm>
            <a:off x="4707952" y="3018964"/>
            <a:ext cx="1185333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1D2709BB-7C62-F64B-A372-28F656C4876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721623" y="1147232"/>
            <a:ext cx="1139825" cy="1254921"/>
          </a:xfrm>
        </p:spPr>
        <p:txBody>
          <a:bodyPr/>
          <a:lstStyle/>
          <a:p>
            <a:r>
              <a:rPr lang="fi-FI"/>
              <a:t>v</a:t>
            </a:r>
          </a:p>
        </p:txBody>
      </p:sp>
      <p:sp>
        <p:nvSpPr>
          <p:cNvPr id="32" name="Sisällön paikkamerkki 2">
            <a:extLst>
              <a:ext uri="{FF2B5EF4-FFF2-40B4-BE49-F238E27FC236}">
                <a16:creationId xmlns:a16="http://schemas.microsoft.com/office/drawing/2014/main" id="{091CC950-C626-D347-B84D-7ABC63012DD7}"/>
              </a:ext>
            </a:extLst>
          </p:cNvPr>
          <p:cNvSpPr>
            <a:spLocks noGrp="1"/>
          </p:cNvSpPr>
          <p:nvPr>
            <p:ph idx="38" hasCustomPrompt="1"/>
          </p:nvPr>
        </p:nvSpPr>
        <p:spPr>
          <a:xfrm>
            <a:off x="5993743" y="3097674"/>
            <a:ext cx="1149080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Sisällön paikkamerkki 2">
            <a:extLst>
              <a:ext uri="{FF2B5EF4-FFF2-40B4-BE49-F238E27FC236}">
                <a16:creationId xmlns:a16="http://schemas.microsoft.com/office/drawing/2014/main" id="{288DB71C-214D-A740-950D-07AAF3305DE8}"/>
              </a:ext>
            </a:extLst>
          </p:cNvPr>
          <p:cNvSpPr>
            <a:spLocks noGrp="1"/>
          </p:cNvSpPr>
          <p:nvPr>
            <p:ph idx="39" hasCustomPrompt="1"/>
          </p:nvPr>
        </p:nvSpPr>
        <p:spPr>
          <a:xfrm>
            <a:off x="5993743" y="2454690"/>
            <a:ext cx="1149080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10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1FE7932-84BD-5E4B-911A-3F8B20EED021}"/>
              </a:ext>
            </a:extLst>
          </p:cNvPr>
          <p:cNvCxnSpPr>
            <a:cxnSpLocks/>
          </p:cNvCxnSpPr>
          <p:nvPr userDrawn="1"/>
        </p:nvCxnSpPr>
        <p:spPr>
          <a:xfrm>
            <a:off x="5978657" y="3018964"/>
            <a:ext cx="1185333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0D102F11-27DE-6244-8513-435DE5DA211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993695" y="1147232"/>
            <a:ext cx="1139825" cy="1254921"/>
          </a:xfrm>
        </p:spPr>
        <p:txBody>
          <a:bodyPr/>
          <a:lstStyle/>
          <a:p>
            <a:r>
              <a:rPr lang="fi-FI"/>
              <a:t>v</a:t>
            </a:r>
          </a:p>
        </p:txBody>
      </p:sp>
      <p:sp>
        <p:nvSpPr>
          <p:cNvPr id="36" name="Sisällön paikkamerkki 2">
            <a:extLst>
              <a:ext uri="{FF2B5EF4-FFF2-40B4-BE49-F238E27FC236}">
                <a16:creationId xmlns:a16="http://schemas.microsoft.com/office/drawing/2014/main" id="{0963BB75-E0DE-CA40-A4CE-6E13CDBC3285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7260214" y="3097674"/>
            <a:ext cx="1149080" cy="1593704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07997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8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Sisällön paikkamerkki 2">
            <a:extLst>
              <a:ext uri="{FF2B5EF4-FFF2-40B4-BE49-F238E27FC236}">
                <a16:creationId xmlns:a16="http://schemas.microsoft.com/office/drawing/2014/main" id="{C7152ADC-E424-E84A-8998-C5B25B056B55}"/>
              </a:ext>
            </a:extLst>
          </p:cNvPr>
          <p:cNvSpPr>
            <a:spLocks noGrp="1"/>
          </p:cNvSpPr>
          <p:nvPr>
            <p:ph idx="42" hasCustomPrompt="1"/>
          </p:nvPr>
        </p:nvSpPr>
        <p:spPr>
          <a:xfrm>
            <a:off x="7260214" y="2454690"/>
            <a:ext cx="1149080" cy="40216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10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467988" indent="-107997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A0C76E0-0968-A240-92D7-F22EB7E92DCC}"/>
              </a:ext>
            </a:extLst>
          </p:cNvPr>
          <p:cNvCxnSpPr>
            <a:cxnSpLocks/>
          </p:cNvCxnSpPr>
          <p:nvPr userDrawn="1"/>
        </p:nvCxnSpPr>
        <p:spPr>
          <a:xfrm>
            <a:off x="7245127" y="3018964"/>
            <a:ext cx="1185333" cy="0"/>
          </a:xfrm>
          <a:prstGeom prst="line">
            <a:avLst/>
          </a:prstGeom>
          <a:ln w="15875">
            <a:solidFill>
              <a:srgbClr val="B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CA240452-73A0-F04A-B723-382D74B5A4B4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7265765" y="1147232"/>
            <a:ext cx="1139825" cy="1254921"/>
          </a:xfrm>
        </p:spPr>
        <p:txBody>
          <a:bodyPr/>
          <a:lstStyle/>
          <a:p>
            <a:r>
              <a:rPr lang="fi-FI"/>
              <a:t>v</a:t>
            </a:r>
          </a:p>
        </p:txBody>
      </p:sp>
      <p:sp>
        <p:nvSpPr>
          <p:cNvPr id="40" name="Otsikko 1">
            <a:extLst>
              <a:ext uri="{FF2B5EF4-FFF2-40B4-BE49-F238E27FC236}">
                <a16:creationId xmlns:a16="http://schemas.microsoft.com/office/drawing/2014/main" id="{88694419-423B-6B49-A19A-B4E023E72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75098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98972BB4-0264-BA46-90C1-529B34AD5727}"/>
              </a:ext>
            </a:extLst>
          </p:cNvPr>
          <p:cNvSpPr/>
          <p:nvPr userDrawn="1"/>
        </p:nvSpPr>
        <p:spPr>
          <a:xfrm>
            <a:off x="5952812" y="1499164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3CBEE3-7803-0D48-9C4D-40CBBD0B9607}"/>
              </a:ext>
            </a:extLst>
          </p:cNvPr>
          <p:cNvSpPr/>
          <p:nvPr userDrawn="1"/>
        </p:nvSpPr>
        <p:spPr>
          <a:xfrm>
            <a:off x="5952812" y="3125057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F70B23-9892-4741-8879-7A1EF1040693}"/>
              </a:ext>
            </a:extLst>
          </p:cNvPr>
          <p:cNvSpPr/>
          <p:nvPr userDrawn="1"/>
        </p:nvSpPr>
        <p:spPr>
          <a:xfrm>
            <a:off x="3428256" y="1499164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1426FCF-EEF7-9A47-A49A-21C060C68BA5}"/>
              </a:ext>
            </a:extLst>
          </p:cNvPr>
          <p:cNvSpPr/>
          <p:nvPr userDrawn="1"/>
        </p:nvSpPr>
        <p:spPr>
          <a:xfrm>
            <a:off x="3428256" y="3125057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C49897-AC1F-CF46-8660-BE39D13488ED}"/>
              </a:ext>
            </a:extLst>
          </p:cNvPr>
          <p:cNvSpPr/>
          <p:nvPr userDrawn="1"/>
        </p:nvSpPr>
        <p:spPr>
          <a:xfrm>
            <a:off x="901887" y="1499164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10" name="Sisällön paikkamerkki 2">
            <a:extLst>
              <a:ext uri="{FF2B5EF4-FFF2-40B4-BE49-F238E27FC236}">
                <a16:creationId xmlns:a16="http://schemas.microsoft.com/office/drawing/2014/main" id="{952F93AB-A726-0F4B-8F4F-26BDE3F4EE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0115" y="1562320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84CEF3-8FF7-3C47-8023-3009E72EC0A0}"/>
              </a:ext>
            </a:extLst>
          </p:cNvPr>
          <p:cNvSpPr/>
          <p:nvPr userDrawn="1"/>
        </p:nvSpPr>
        <p:spPr>
          <a:xfrm>
            <a:off x="901887" y="3125057"/>
            <a:ext cx="2454589" cy="1552993"/>
          </a:xfrm>
          <a:prstGeom prst="rect">
            <a:avLst/>
          </a:prstGeom>
          <a:solidFill>
            <a:schemeClr val="tx1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12" name="Sisällön paikkamerkki 2">
            <a:extLst>
              <a:ext uri="{FF2B5EF4-FFF2-40B4-BE49-F238E27FC236}">
                <a16:creationId xmlns:a16="http://schemas.microsoft.com/office/drawing/2014/main" id="{969E8070-17F5-3546-82D6-69D22E4C289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980115" y="3195319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isällön paikkamerkki 2">
            <a:extLst>
              <a:ext uri="{FF2B5EF4-FFF2-40B4-BE49-F238E27FC236}">
                <a16:creationId xmlns:a16="http://schemas.microsoft.com/office/drawing/2014/main" id="{30FF65DF-D5BA-7F44-A9D2-825D511D298A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508681" y="1562320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C357-2685-E14A-8D2D-97BB9FC3405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508681" y="3195319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Sisällön paikkamerkki 2">
            <a:extLst>
              <a:ext uri="{FF2B5EF4-FFF2-40B4-BE49-F238E27FC236}">
                <a16:creationId xmlns:a16="http://schemas.microsoft.com/office/drawing/2014/main" id="{F529E85D-15BF-BD46-B200-C52ADF8438C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033278" y="1562320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Sisällön paikkamerkki 2">
            <a:extLst>
              <a:ext uri="{FF2B5EF4-FFF2-40B4-BE49-F238E27FC236}">
                <a16:creationId xmlns:a16="http://schemas.microsoft.com/office/drawing/2014/main" id="{87D1DB19-21C9-2648-9FD6-A5BF2139765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33278" y="3195319"/>
            <a:ext cx="1553111" cy="1399142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1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2pPr>
            <a:lvl3pPr marL="215995" indent="-215995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Otsikko 1">
            <a:extLst>
              <a:ext uri="{FF2B5EF4-FFF2-40B4-BE49-F238E27FC236}">
                <a16:creationId xmlns:a16="http://schemas.microsoft.com/office/drawing/2014/main" id="{696423B3-1699-CD42-B0C8-BEB8E7B14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088" y="548877"/>
            <a:ext cx="7499079" cy="1069044"/>
          </a:xfrm>
        </p:spPr>
        <p:txBody>
          <a:bodyPr lIns="90000" anchor="t" anchorCtr="0">
            <a:normAutofit/>
          </a:bodyPr>
          <a:lstStyle>
            <a:lvl1pPr>
              <a:defRPr sz="2800" b="0" i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3667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rk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5C9D464-2FCE-544F-8908-1B27343985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F858F56-8AF5-FA46-823F-42256AAE1525}"/>
              </a:ext>
            </a:extLst>
          </p:cNvPr>
          <p:cNvSpPr/>
          <p:nvPr userDrawn="1"/>
        </p:nvSpPr>
        <p:spPr>
          <a:xfrm>
            <a:off x="0" y="0"/>
            <a:ext cx="5537200" cy="51435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lumMod val="95000"/>
                  <a:lumOff val="5000"/>
                  <a:alpha val="0"/>
                </a:schemeClr>
              </a:gs>
            </a:gsLst>
            <a:lin ang="0" scaled="0"/>
          </a:gra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 b="0" i="0" dirty="0">
              <a:latin typeface="Roboto" panose="02000000000000000000" pitchFamily="2" charset="0"/>
            </a:endParaRPr>
          </a:p>
        </p:txBody>
      </p:sp>
      <p:sp>
        <p:nvSpPr>
          <p:cNvPr id="7" name="Sisällön paikkamerkki 2">
            <a:extLst>
              <a:ext uri="{FF2B5EF4-FFF2-40B4-BE49-F238E27FC236}">
                <a16:creationId xmlns:a16="http://schemas.microsoft.com/office/drawing/2014/main" id="{3EDCD99F-20E8-8E42-9353-7A90368D4E7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00113" y="1219201"/>
            <a:ext cx="3278310" cy="3656761"/>
          </a:xfr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4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2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2pPr>
            <a:lvl3pPr marL="305993" indent="-179996">
              <a:spcAft>
                <a:spcPts val="600"/>
              </a:spcAft>
              <a:buFont typeface="Arial" panose="020B0604020202020204" pitchFamily="34" charset="0"/>
              <a:buChar char="•"/>
              <a:defRPr sz="10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14457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Otsikko 1">
            <a:extLst>
              <a:ext uri="{FF2B5EF4-FFF2-40B4-BE49-F238E27FC236}">
                <a16:creationId xmlns:a16="http://schemas.microsoft.com/office/drawing/2014/main" id="{41FA286F-0386-4A47-A899-205154CA3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978" y="541338"/>
            <a:ext cx="3278446" cy="555096"/>
          </a:xfrm>
        </p:spPr>
        <p:txBody>
          <a:bodyPr lIns="90000" anchor="t" anchorCtr="0">
            <a:normAutofit/>
          </a:bodyPr>
          <a:lstStyle>
            <a:lvl1pPr>
              <a:defRPr sz="1800" b="0" i="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2559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rk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5C9D464-2FCE-544F-8908-1B27343985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700" y="1"/>
            <a:ext cx="9144000" cy="5143500"/>
          </a:xfrm>
          <a:prstGeom prst="rect">
            <a:avLst/>
          </a:prstGeom>
        </p:spPr>
      </p:pic>
      <p:sp>
        <p:nvSpPr>
          <p:cNvPr id="16" name="Otsikko 1">
            <a:extLst>
              <a:ext uri="{FF2B5EF4-FFF2-40B4-BE49-F238E27FC236}">
                <a16:creationId xmlns:a16="http://schemas.microsoft.com/office/drawing/2014/main" id="{D4706C1B-982F-5A4D-AF6E-C76631750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977" y="541338"/>
            <a:ext cx="4905837" cy="555096"/>
          </a:xfrm>
        </p:spPr>
        <p:txBody>
          <a:bodyPr lIns="90000" anchor="t" anchorCtr="0">
            <a:normAutofit/>
          </a:bodyPr>
          <a:lstStyle>
            <a:lvl1pPr>
              <a:defRPr sz="1800" b="0" i="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7" name="Sisällön paikkamerkki 2">
            <a:extLst>
              <a:ext uri="{FF2B5EF4-FFF2-40B4-BE49-F238E27FC236}">
                <a16:creationId xmlns:a16="http://schemas.microsoft.com/office/drawing/2014/main" id="{F97D0D8F-DA6E-FF41-B93C-F13CAAC78C5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603707" y="1219201"/>
            <a:ext cx="2577888" cy="3656761"/>
          </a:xfr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4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2pPr>
            <a:lvl3pPr marL="0" indent="-179996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3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9996" indent="-107997">
              <a:spcBef>
                <a:spcPts val="600"/>
              </a:spcBef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Sisällön paikkamerkki 2">
            <a:extLst>
              <a:ext uri="{FF2B5EF4-FFF2-40B4-BE49-F238E27FC236}">
                <a16:creationId xmlns:a16="http://schemas.microsoft.com/office/drawing/2014/main" id="{5FD1E869-7CFE-A44A-91BB-346710EB07F4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900113" y="1219201"/>
            <a:ext cx="2557071" cy="3656761"/>
          </a:xfr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4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solidFill>
                  <a:srgbClr val="FF7F00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2pPr>
            <a:lvl3pPr marL="0" indent="-179996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300" b="0" i="0">
                <a:latin typeface="Roboto Thin" panose="02000000000000000000" pitchFamily="2" charset="0"/>
                <a:ea typeface="Roboto Thin" panose="02000000000000000000" pitchFamily="2" charset="0"/>
              </a:defRPr>
            </a:lvl3pPr>
            <a:lvl4pPr marL="179996" indent="-107997">
              <a:spcBef>
                <a:spcPts val="600"/>
              </a:spcBef>
              <a:buFont typeface="Arial" panose="020B0604020202020204" pitchFamily="34" charset="0"/>
              <a:buChar char="•"/>
              <a:defRPr sz="1200" b="0" i="0">
                <a:latin typeface="Roboto Thin" panose="02000000000000000000" pitchFamily="2" charset="0"/>
                <a:ea typeface="Roboto Thin" panose="02000000000000000000" pitchFamily="2" charset="0"/>
              </a:defRPr>
            </a:lvl4pPr>
            <a:lvl5pPr marL="2171646" indent="-342892">
              <a:buFont typeface="Arial" panose="020B0604020202020204" pitchFamily="34" charset="0"/>
              <a:buChar char="•"/>
              <a:defRPr b="0" i="0">
                <a:latin typeface="Roboto Thin" panose="02000000000000000000" pitchFamily="2" charset="0"/>
                <a:ea typeface="Roboto Thin" panose="02000000000000000000" pitchFamily="2" charset="0"/>
              </a:defRPr>
            </a:lvl5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4618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image" Target="../media/image1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44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4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star, sky, night, person&#10;&#10;Description automatically generated">
            <a:extLst>
              <a:ext uri="{FF2B5EF4-FFF2-40B4-BE49-F238E27FC236}">
                <a16:creationId xmlns:a16="http://schemas.microsoft.com/office/drawing/2014/main" id="{E6879690-02FA-C141-83D5-E2D1EE1029CD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900113" y="541338"/>
            <a:ext cx="7560000" cy="756000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900114" y="1391653"/>
            <a:ext cx="7558087" cy="26695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83932F-732C-6443-A0BD-99001654F8B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4783" y="4866395"/>
            <a:ext cx="614437" cy="9452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0AC643D-74A8-9041-ABA2-718673C5ED53}"/>
              </a:ext>
            </a:extLst>
          </p:cNvPr>
          <p:cNvSpPr txBox="1"/>
          <p:nvPr userDrawn="1"/>
        </p:nvSpPr>
        <p:spPr>
          <a:xfrm>
            <a:off x="539749" y="4821325"/>
            <a:ext cx="2171700" cy="184666"/>
          </a:xfrm>
          <a:prstGeom prst="rect">
            <a:avLst/>
          </a:prstGeom>
          <a:noFill/>
        </p:spPr>
        <p:txBody>
          <a:bodyPr wrap="square" lIns="36000" rtlCol="0" anchor="ctr">
            <a:spAutoFit/>
          </a:bodyPr>
          <a:lstStyle/>
          <a:p>
            <a:r>
              <a:rPr lang="en-US" sz="600" b="0" i="0" noProof="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Emberion 2023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5640C8C-5F56-4878-8E72-CE69396058BD}"/>
              </a:ext>
            </a:extLst>
          </p:cNvPr>
          <p:cNvSpPr txBox="1">
            <a:spLocks/>
          </p:cNvSpPr>
          <p:nvPr userDrawn="1"/>
        </p:nvSpPr>
        <p:spPr>
          <a:xfrm>
            <a:off x="8220654" y="4821325"/>
            <a:ext cx="383594" cy="18466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0" i="0" kern="1200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BFDF2BF1-2FB4-4971-8ABE-53FD3A4AF402}" type="slidenum">
              <a:rPr lang="en-GB" sz="600" smtClean="0">
                <a:latin typeface="Roboto Light" panose="02000000000000000000"/>
              </a:rPr>
              <a:pPr marL="0" indent="0" algn="r">
                <a:buNone/>
              </a:pPr>
              <a:t>‹#›</a:t>
            </a:fld>
            <a:endParaRPr lang="en-GB" sz="600">
              <a:latin typeface="Roboto Light" panose="020000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517910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44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0" i="0" kern="1200" baseline="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1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107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457200" y="-1"/>
            <a:ext cx="7560000" cy="756000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/>
          <a:p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perustyyl</a:t>
            </a:r>
            <a:r>
              <a:rPr lang="en-GB" noProof="0" dirty="0"/>
              <a:t>. </a:t>
            </a:r>
            <a:r>
              <a:rPr lang="en-GB" noProof="0" dirty="0" err="1"/>
              <a:t>napsautt</a:t>
            </a:r>
            <a:r>
              <a:rPr lang="en-GB" noProof="0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4"/>
            <a:r>
              <a:rPr lang="en-GB" noProof="0" dirty="0" err="1"/>
              <a:t>viide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6624000" y="4608000"/>
            <a:ext cx="1800000" cy="360000"/>
          </a:xfrm>
          <a:prstGeom prst="rect">
            <a:avLst/>
          </a:prstGeom>
        </p:spPr>
        <p:txBody>
          <a:bodyPr vert="horz" lIns="0" tIns="36000" rIns="0" bIns="0" rtlCol="0" anchor="ctr"/>
          <a:lstStyle>
            <a:lvl1pPr algn="r">
              <a:defRPr sz="1000" b="0" i="0">
                <a:solidFill>
                  <a:schemeClr val="tx1">
                    <a:tint val="75000"/>
                  </a:schemeClr>
                </a:solidFill>
                <a:latin typeface="Roboto" panose="020000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424000" y="4788000"/>
            <a:ext cx="54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0" i="0">
                <a:solidFill>
                  <a:schemeClr val="tx1">
                    <a:tint val="75000"/>
                  </a:schemeClr>
                </a:solidFill>
                <a:latin typeface="Roboto" panose="02000000000000000000" pitchFamily="2" charset="0"/>
              </a:defRPr>
            </a:lvl1pPr>
          </a:lstStyle>
          <a:p>
            <a:fld id="{F742C6BC-3362-4625-BA5D-F4AEE97F692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4079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Roboto" panose="02000000000000000000" pitchFamily="2" charset="0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0" i="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0" i="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0" i="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0" i="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star, sky, night, person&#10;&#10;Description automatically generated">
            <a:extLst>
              <a:ext uri="{FF2B5EF4-FFF2-40B4-BE49-F238E27FC236}">
                <a16:creationId xmlns:a16="http://schemas.microsoft.com/office/drawing/2014/main" id="{E6879690-02FA-C141-83D5-E2D1EE1029CD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900113" y="541338"/>
            <a:ext cx="7560000" cy="756000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900113" y="1391653"/>
            <a:ext cx="7558087" cy="26695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83932F-732C-6443-A0BD-99001654F8B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4782" y="4866394"/>
            <a:ext cx="614437" cy="9452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0AC643D-74A8-9041-ABA2-718673C5ED53}"/>
              </a:ext>
            </a:extLst>
          </p:cNvPr>
          <p:cNvSpPr txBox="1"/>
          <p:nvPr userDrawn="1"/>
        </p:nvSpPr>
        <p:spPr>
          <a:xfrm>
            <a:off x="539749" y="4821325"/>
            <a:ext cx="2171700" cy="184666"/>
          </a:xfrm>
          <a:prstGeom prst="rect">
            <a:avLst/>
          </a:prstGeom>
          <a:noFill/>
        </p:spPr>
        <p:txBody>
          <a:bodyPr wrap="square" lIns="36000" rtlCol="0" anchor="ctr">
            <a:spAutoFit/>
          </a:bodyPr>
          <a:lstStyle/>
          <a:p>
            <a:r>
              <a:rPr lang="en-US" sz="600" b="0" i="0" noProof="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Emberion 2023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5640C8C-5F56-4878-8E72-CE69396058BD}"/>
              </a:ext>
            </a:extLst>
          </p:cNvPr>
          <p:cNvSpPr txBox="1">
            <a:spLocks/>
          </p:cNvSpPr>
          <p:nvPr userDrawn="1"/>
        </p:nvSpPr>
        <p:spPr>
          <a:xfrm>
            <a:off x="8220653" y="4821324"/>
            <a:ext cx="383594" cy="18466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0" i="0" kern="1200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BFDF2BF1-2FB4-4971-8ABE-53FD3A4AF402}" type="slidenum">
              <a:rPr lang="en-GB" sz="600" smtClean="0">
                <a:latin typeface="Roboto Light" panose="02000000000000000000"/>
              </a:rPr>
              <a:pPr marL="0" indent="0" algn="r">
                <a:buNone/>
              </a:pPr>
              <a:t>‹#›</a:t>
            </a:fld>
            <a:endParaRPr lang="en-GB" sz="600">
              <a:latin typeface="Roboto Light" panose="020000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947641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44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0" i="0" kern="1200" baseline="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1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107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star, sky, night, person&#10;&#10;Description automatically generated">
            <a:extLst>
              <a:ext uri="{FF2B5EF4-FFF2-40B4-BE49-F238E27FC236}">
                <a16:creationId xmlns:a16="http://schemas.microsoft.com/office/drawing/2014/main" id="{E6879690-02FA-C141-83D5-E2D1EE1029CD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900113" y="541338"/>
            <a:ext cx="7560000" cy="756000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900114" y="1391653"/>
            <a:ext cx="7558087" cy="26695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83932F-732C-6443-A0BD-99001654F8B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4783" y="4866395"/>
            <a:ext cx="614437" cy="9452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0AC643D-74A8-9041-ABA2-718673C5ED53}"/>
              </a:ext>
            </a:extLst>
          </p:cNvPr>
          <p:cNvSpPr txBox="1"/>
          <p:nvPr userDrawn="1"/>
        </p:nvSpPr>
        <p:spPr>
          <a:xfrm>
            <a:off x="539749" y="4821325"/>
            <a:ext cx="2171700" cy="184666"/>
          </a:xfrm>
          <a:prstGeom prst="rect">
            <a:avLst/>
          </a:prstGeom>
          <a:noFill/>
        </p:spPr>
        <p:txBody>
          <a:bodyPr wrap="square" lIns="36000" rtlCol="0" anchor="ctr">
            <a:spAutoFit/>
          </a:bodyPr>
          <a:lstStyle/>
          <a:p>
            <a:r>
              <a:rPr lang="en-US" sz="600" b="0" i="0" noProof="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Emberion 2023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5640C8C-5F56-4878-8E72-CE69396058BD}"/>
              </a:ext>
            </a:extLst>
          </p:cNvPr>
          <p:cNvSpPr txBox="1">
            <a:spLocks/>
          </p:cNvSpPr>
          <p:nvPr userDrawn="1"/>
        </p:nvSpPr>
        <p:spPr>
          <a:xfrm>
            <a:off x="8220654" y="4821325"/>
            <a:ext cx="383594" cy="18466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0" i="0" kern="1200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BFDF2BF1-2FB4-4971-8ABE-53FD3A4AF402}" type="slidenum">
              <a:rPr lang="en-GB" sz="600" smtClean="0">
                <a:latin typeface="Roboto Light" panose="02000000000000000000"/>
              </a:rPr>
              <a:pPr marL="0" indent="0" algn="r">
                <a:buNone/>
              </a:pPr>
              <a:t>‹#›</a:t>
            </a:fld>
            <a:endParaRPr lang="en-GB" sz="600">
              <a:latin typeface="Roboto Light" panose="020000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2225068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44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0" i="0" kern="1200" baseline="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0" i="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1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107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6EF10CC-D037-09E4-5611-97AD11DFEB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44168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EF10CC-D037-09E4-5611-97AD11DFE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457200" y="-1"/>
            <a:ext cx="7560000" cy="756000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/>
          <a:p>
            <a:r>
              <a:rPr lang="en-GB" noProof="0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Muokkaa tekstin perustyylejä napsauttamalla</a:t>
            </a:r>
          </a:p>
          <a:p>
            <a:pPr lvl="1"/>
            <a:r>
              <a:rPr lang="en-GB" noProof="0"/>
              <a:t>toinen taso</a:t>
            </a:r>
          </a:p>
          <a:p>
            <a:pPr lvl="2"/>
            <a:r>
              <a:rPr lang="en-GB" noProof="0"/>
              <a:t>kolmas taso</a:t>
            </a:r>
          </a:p>
          <a:p>
            <a:pPr lvl="3"/>
            <a:r>
              <a:rPr lang="en-GB" noProof="0"/>
              <a:t>neljäs taso</a:t>
            </a:r>
          </a:p>
          <a:p>
            <a:pPr lvl="4"/>
            <a:r>
              <a:rPr lang="en-GB" noProof="0"/>
              <a:t>viides taso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935548" y="4909920"/>
            <a:ext cx="19147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fld id="{F742C6BC-3362-4625-BA5D-F4AEE97F692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ian numeron paikkamerkki 5">
            <a:extLst>
              <a:ext uri="{FF2B5EF4-FFF2-40B4-BE49-F238E27FC236}">
                <a16:creationId xmlns:a16="http://schemas.microsoft.com/office/drawing/2014/main" id="{FF430A81-87D1-AF63-846D-6A68E7D7501D}"/>
              </a:ext>
            </a:extLst>
          </p:cNvPr>
          <p:cNvSpPr txBox="1">
            <a:spLocks/>
          </p:cNvSpPr>
          <p:nvPr userDrawn="1"/>
        </p:nvSpPr>
        <p:spPr>
          <a:xfrm>
            <a:off x="7683629" y="4890335"/>
            <a:ext cx="1171055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fi-FI"/>
            </a:defPPr>
            <a:lvl1pPr algn="ctr">
              <a:defRPr sz="700">
                <a:solidFill>
                  <a:schemeClr val="tx1">
                    <a:tint val="75000"/>
                  </a:schemeClr>
                </a:solidFill>
                <a:latin typeface="Montserrat" panose="000005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Strictly confidential</a:t>
            </a:r>
          </a:p>
        </p:txBody>
      </p:sp>
      <p:sp>
        <p:nvSpPr>
          <p:cNvPr id="8" name="Dian numeron paikkamerkki 5">
            <a:extLst>
              <a:ext uri="{FF2B5EF4-FFF2-40B4-BE49-F238E27FC236}">
                <a16:creationId xmlns:a16="http://schemas.microsoft.com/office/drawing/2014/main" id="{75E0E208-B2AF-8DEC-C0E6-680B45606AF1}"/>
              </a:ext>
            </a:extLst>
          </p:cNvPr>
          <p:cNvSpPr txBox="1">
            <a:spLocks/>
          </p:cNvSpPr>
          <p:nvPr userDrawn="1"/>
        </p:nvSpPr>
        <p:spPr>
          <a:xfrm>
            <a:off x="3986473" y="4890335"/>
            <a:ext cx="1171055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fi-FI"/>
            </a:defPPr>
            <a:lvl1pPr algn="ctr">
              <a:defRPr sz="700">
                <a:solidFill>
                  <a:schemeClr val="tx1">
                    <a:tint val="75000"/>
                  </a:schemeClr>
                </a:solidFill>
                <a:latin typeface="Montserrat" panose="00000500000000000000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©Emberion</a:t>
            </a:r>
          </a:p>
        </p:txBody>
      </p:sp>
    </p:spTree>
    <p:extLst>
      <p:ext uri="{BB962C8B-B14F-4D97-AF65-F5344CB8AC3E}">
        <p14:creationId xmlns:p14="http://schemas.microsoft.com/office/powerpoint/2010/main" val="1741281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Century Gothic" charset="0"/>
          <a:ea typeface="Century Gothic" charset="0"/>
          <a:cs typeface="Century Gothic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Century Gothic" charset="0"/>
          <a:ea typeface="Century Gothic" charset="0"/>
          <a:cs typeface="Century Gothic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entury Gothic" charset="0"/>
          <a:ea typeface="Century Gothic" charset="0"/>
          <a:cs typeface="Century Gothic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entury Gothic" charset="0"/>
          <a:ea typeface="Century Gothic" charset="0"/>
          <a:cs typeface="Century Gothic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entury Gothic" charset="0"/>
          <a:ea typeface="Century Gothic" charset="0"/>
          <a:cs typeface="Century Gothic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sv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1.jpeg"/><Relationship Id="rId18" Type="http://schemas.openxmlformats.org/officeDocument/2006/relationships/image" Target="../media/image35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18.png"/><Relationship Id="rId7" Type="http://schemas.openxmlformats.org/officeDocument/2006/relationships/image" Target="../media/image26.png"/><Relationship Id="rId12" Type="http://schemas.openxmlformats.org/officeDocument/2006/relationships/image" Target="../media/image30.jpeg"/><Relationship Id="rId17" Type="http://schemas.microsoft.com/office/2007/relationships/hdphoto" Target="../media/hdphoto1.wdp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34.png"/><Relationship Id="rId20" Type="http://schemas.openxmlformats.org/officeDocument/2006/relationships/image" Target="../media/image36.png"/><Relationship Id="rId1" Type="http://schemas.openxmlformats.org/officeDocument/2006/relationships/tags" Target="../tags/tag2.xml"/><Relationship Id="rId6" Type="http://schemas.openxmlformats.org/officeDocument/2006/relationships/image" Target="../media/image25.png"/><Relationship Id="rId11" Type="http://schemas.openxmlformats.org/officeDocument/2006/relationships/image" Target="../media/image16.png"/><Relationship Id="rId5" Type="http://schemas.openxmlformats.org/officeDocument/2006/relationships/image" Target="../media/image7.emf"/><Relationship Id="rId15" Type="http://schemas.openxmlformats.org/officeDocument/2006/relationships/image" Target="../media/image33.png"/><Relationship Id="rId10" Type="http://schemas.openxmlformats.org/officeDocument/2006/relationships/image" Target="../media/image29.png"/><Relationship Id="rId19" Type="http://schemas.microsoft.com/office/2007/relationships/hdphoto" Target="../media/hdphoto2.wdp"/><Relationship Id="rId4" Type="http://schemas.openxmlformats.org/officeDocument/2006/relationships/oleObject" Target="../embeddings/oleObject2.bin"/><Relationship Id="rId9" Type="http://schemas.openxmlformats.org/officeDocument/2006/relationships/image" Target="../media/image28.png"/><Relationship Id="rId14" Type="http://schemas.openxmlformats.org/officeDocument/2006/relationships/image" Target="../media/image3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4.png"/><Relationship Id="rId18" Type="http://schemas.openxmlformats.org/officeDocument/2006/relationships/image" Target="../media/image49.png"/><Relationship Id="rId26" Type="http://schemas.openxmlformats.org/officeDocument/2006/relationships/image" Target="../media/image57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52.png"/><Relationship Id="rId7" Type="http://schemas.openxmlformats.org/officeDocument/2006/relationships/image" Target="../media/image38.png"/><Relationship Id="rId12" Type="http://schemas.openxmlformats.org/officeDocument/2006/relationships/image" Target="../media/image43.jpeg"/><Relationship Id="rId17" Type="http://schemas.openxmlformats.org/officeDocument/2006/relationships/image" Target="../media/image48.png"/><Relationship Id="rId25" Type="http://schemas.openxmlformats.org/officeDocument/2006/relationships/image" Target="../media/image56.png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47.png"/><Relationship Id="rId20" Type="http://schemas.openxmlformats.org/officeDocument/2006/relationships/image" Target="../media/image51.png"/><Relationship Id="rId29" Type="http://schemas.openxmlformats.org/officeDocument/2006/relationships/image" Target="../media/image60.png"/><Relationship Id="rId1" Type="http://schemas.openxmlformats.org/officeDocument/2006/relationships/tags" Target="../tags/tag3.xml"/><Relationship Id="rId6" Type="http://schemas.openxmlformats.org/officeDocument/2006/relationships/image" Target="../media/image37.jpeg"/><Relationship Id="rId11" Type="http://schemas.openxmlformats.org/officeDocument/2006/relationships/image" Target="../media/image42.png"/><Relationship Id="rId24" Type="http://schemas.openxmlformats.org/officeDocument/2006/relationships/image" Target="../media/image55.png"/><Relationship Id="rId32" Type="http://schemas.openxmlformats.org/officeDocument/2006/relationships/image" Target="../media/image63.jpeg"/><Relationship Id="rId5" Type="http://schemas.openxmlformats.org/officeDocument/2006/relationships/image" Target="../media/image7.emf"/><Relationship Id="rId15" Type="http://schemas.openxmlformats.org/officeDocument/2006/relationships/image" Target="../media/image46.png"/><Relationship Id="rId23" Type="http://schemas.openxmlformats.org/officeDocument/2006/relationships/image" Target="../media/image54.png"/><Relationship Id="rId28" Type="http://schemas.openxmlformats.org/officeDocument/2006/relationships/image" Target="../media/image59.jpeg"/><Relationship Id="rId10" Type="http://schemas.openxmlformats.org/officeDocument/2006/relationships/image" Target="../media/image41.jpeg"/><Relationship Id="rId19" Type="http://schemas.openxmlformats.org/officeDocument/2006/relationships/image" Target="../media/image50.png"/><Relationship Id="rId31" Type="http://schemas.openxmlformats.org/officeDocument/2006/relationships/image" Target="../media/image62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0.jpeg"/><Relationship Id="rId14" Type="http://schemas.openxmlformats.org/officeDocument/2006/relationships/image" Target="../media/image45.jpeg"/><Relationship Id="rId22" Type="http://schemas.openxmlformats.org/officeDocument/2006/relationships/image" Target="../media/image53.png"/><Relationship Id="rId27" Type="http://schemas.openxmlformats.org/officeDocument/2006/relationships/image" Target="../media/image58.png"/><Relationship Id="rId30" Type="http://schemas.openxmlformats.org/officeDocument/2006/relationships/image" Target="../media/image6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0.jpeg"/><Relationship Id="rId5" Type="http://schemas.openxmlformats.org/officeDocument/2006/relationships/image" Target="../media/image69.jpeg"/><Relationship Id="rId4" Type="http://schemas.openxmlformats.org/officeDocument/2006/relationships/image" Target="../media/image6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00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0" y="0"/>
            <a:ext cx="9144000" cy="5143500"/>
            <a:chOff x="0" y="0"/>
            <a:chExt cx="9144000" cy="5143500"/>
          </a:xfrm>
        </p:grpSpPr>
        <p:sp>
          <p:nvSpPr>
            <p:cNvPr id="2" name="Suorakulmio 1"/>
            <p:cNvSpPr/>
            <p:nvPr/>
          </p:nvSpPr>
          <p:spPr>
            <a:xfrm>
              <a:off x="0" y="0"/>
              <a:ext cx="9144000" cy="51435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endParaRPr>
            </a:p>
          </p:txBody>
        </p:sp>
        <p:pic>
          <p:nvPicPr>
            <p:cNvPr id="7" name="Kuva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000" y="1800000"/>
              <a:ext cx="4572000" cy="909828"/>
            </a:xfrm>
            <a:prstGeom prst="rect">
              <a:avLst/>
            </a:prstGeom>
          </p:spPr>
        </p:pic>
        <p:pic>
          <p:nvPicPr>
            <p:cNvPr id="8" name="Kuva 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07934" y="2567722"/>
              <a:ext cx="4136065" cy="2575778"/>
            </a:xfrm>
            <a:prstGeom prst="rect">
              <a:avLst/>
            </a:prstGeom>
          </p:spPr>
        </p:pic>
        <p:sp>
          <p:nvSpPr>
            <p:cNvPr id="3" name="TextBox 2"/>
            <p:cNvSpPr txBox="1"/>
            <p:nvPr/>
          </p:nvSpPr>
          <p:spPr>
            <a:xfrm>
              <a:off x="963000" y="2932386"/>
              <a:ext cx="293221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u="none" strike="noStrike" kern="1200" cap="none" spc="0" normalizeH="0" baseline="0" noProof="0" dirty="0">
                  <a:ln>
                    <a:noFill/>
                  </a:ln>
                  <a:solidFill>
                    <a:srgbClr val="BF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Broaden your Vis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05303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extBox 49">
            <a:extLst>
              <a:ext uri="{FF2B5EF4-FFF2-40B4-BE49-F238E27FC236}">
                <a16:creationId xmlns:a16="http://schemas.microsoft.com/office/drawing/2014/main" id="{833D87DF-24AF-429F-A562-04EEA9FEDC04}"/>
              </a:ext>
            </a:extLst>
          </p:cNvPr>
          <p:cNvSpPr txBox="1"/>
          <p:nvPr/>
        </p:nvSpPr>
        <p:spPr>
          <a:xfrm>
            <a:off x="539751" y="4041980"/>
            <a:ext cx="8064499" cy="320329"/>
          </a:xfrm>
          <a:prstGeom prst="rect">
            <a:avLst/>
          </a:prstGeom>
          <a:noFill/>
        </p:spPr>
        <p:txBody>
          <a:bodyPr wrap="square" lIns="36000" rIns="36000" rtlCol="0" anchor="b">
            <a:noAutofit/>
          </a:bodyPr>
          <a:lstStyle/>
          <a:p>
            <a:pPr defTabSz="914378"/>
            <a:r>
              <a:rPr lang="en-US" sz="700" i="1" dirty="0">
                <a:solidFill>
                  <a:prstClr val="white"/>
                </a:solidFill>
                <a:latin typeface="Roboto Light" panose="02000000000000000000"/>
              </a:rPr>
              <a:t>Note: 1) ROIC = Read out integrated circuit.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C507F0E3-6AE4-4FC1-8349-AF7126D55C97}"/>
              </a:ext>
            </a:extLst>
          </p:cNvPr>
          <p:cNvGrpSpPr/>
          <p:nvPr/>
        </p:nvGrpSpPr>
        <p:grpSpPr>
          <a:xfrm>
            <a:off x="539751" y="1108957"/>
            <a:ext cx="3873496" cy="349430"/>
            <a:chOff x="539751" y="686850"/>
            <a:chExt cx="1817928" cy="349430"/>
          </a:xfrm>
        </p:grpSpPr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C2D5F693-E17E-4B8F-91D4-5F4F05A1F1D4}"/>
                </a:ext>
              </a:extLst>
            </p:cNvPr>
            <p:cNvCxnSpPr>
              <a:cxnSpLocks/>
            </p:cNvCxnSpPr>
            <p:nvPr/>
          </p:nvCxnSpPr>
          <p:spPr>
            <a:xfrm>
              <a:off x="539751" y="1015780"/>
              <a:ext cx="1817928" cy="0"/>
            </a:xfrm>
            <a:prstGeom prst="line">
              <a:avLst/>
            </a:prstGeom>
            <a:ln>
              <a:solidFill>
                <a:srgbClr val="BF00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F2A3A6EE-01C3-4C0F-9332-C0C4D2028AD2}"/>
                </a:ext>
              </a:extLst>
            </p:cNvPr>
            <p:cNvSpPr txBox="1"/>
            <p:nvPr/>
          </p:nvSpPr>
          <p:spPr>
            <a:xfrm>
              <a:off x="539751" y="686850"/>
              <a:ext cx="1817928" cy="349430"/>
            </a:xfrm>
            <a:prstGeom prst="rect">
              <a:avLst/>
            </a:prstGeom>
            <a:noFill/>
          </p:spPr>
          <p:txBody>
            <a:bodyPr wrap="square" lIns="36000" rIns="36000" rtlCol="0" anchor="b">
              <a:noAutofit/>
            </a:bodyPr>
            <a:lstStyle/>
            <a:p>
              <a:pPr defTabSz="914378"/>
              <a:r>
                <a:rPr lang="fi-FI" sz="1200">
                  <a:solidFill>
                    <a:srgbClr val="F79646"/>
                  </a:solidFill>
                  <a:latin typeface="Roboto Light" panose="02000000000000000000"/>
                </a:rPr>
                <a:t>                      – in </a:t>
              </a:r>
              <a:r>
                <a:rPr lang="fi-FI" sz="1200" err="1">
                  <a:solidFill>
                    <a:srgbClr val="F79646"/>
                  </a:solidFill>
                  <a:latin typeface="Roboto Light" panose="02000000000000000000"/>
                </a:rPr>
                <a:t>brief</a:t>
              </a:r>
              <a:endParaRPr lang="en-US" sz="1200">
                <a:solidFill>
                  <a:srgbClr val="F79646"/>
                </a:solidFill>
                <a:latin typeface="Roboto Light" panose="02000000000000000000"/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AE6CF8E3-55FE-4987-A4FD-28271D5D8880}"/>
              </a:ext>
            </a:extLst>
          </p:cNvPr>
          <p:cNvGrpSpPr/>
          <p:nvPr/>
        </p:nvGrpSpPr>
        <p:grpSpPr>
          <a:xfrm>
            <a:off x="4730754" y="1108957"/>
            <a:ext cx="3873496" cy="349430"/>
            <a:chOff x="539751" y="686850"/>
            <a:chExt cx="1817928" cy="349430"/>
          </a:xfrm>
        </p:grpSpPr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CDAA2191-73B2-4C44-A13E-D03F7252B051}"/>
                </a:ext>
              </a:extLst>
            </p:cNvPr>
            <p:cNvCxnSpPr>
              <a:cxnSpLocks/>
            </p:cNvCxnSpPr>
            <p:nvPr/>
          </p:nvCxnSpPr>
          <p:spPr>
            <a:xfrm>
              <a:off x="539751" y="1015780"/>
              <a:ext cx="1817928" cy="0"/>
            </a:xfrm>
            <a:prstGeom prst="line">
              <a:avLst/>
            </a:prstGeom>
            <a:ln>
              <a:solidFill>
                <a:srgbClr val="BF00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E2F8B2FB-EBB3-43CB-A2C7-E8721C521ABD}"/>
                </a:ext>
              </a:extLst>
            </p:cNvPr>
            <p:cNvSpPr txBox="1"/>
            <p:nvPr/>
          </p:nvSpPr>
          <p:spPr>
            <a:xfrm>
              <a:off x="539751" y="686850"/>
              <a:ext cx="1817928" cy="349430"/>
            </a:xfrm>
            <a:prstGeom prst="rect">
              <a:avLst/>
            </a:prstGeom>
            <a:noFill/>
          </p:spPr>
          <p:txBody>
            <a:bodyPr wrap="square" lIns="36000" rIns="36000" rtlCol="0" anchor="b">
              <a:noAutofit/>
            </a:bodyPr>
            <a:lstStyle/>
            <a:p>
              <a:pPr defTabSz="914378"/>
              <a:r>
                <a:rPr lang="en-US" sz="1200" dirty="0">
                  <a:solidFill>
                    <a:srgbClr val="F79646"/>
                  </a:solidFill>
                  <a:latin typeface="Roboto Light" panose="02000000000000000000"/>
                </a:rPr>
                <a:t>Disruptive products</a:t>
              </a:r>
            </a:p>
          </p:txBody>
        </p:sp>
      </p:grpSp>
      <p:sp>
        <p:nvSpPr>
          <p:cNvPr id="93" name="Rectangle 92">
            <a:extLst>
              <a:ext uri="{FF2B5EF4-FFF2-40B4-BE49-F238E27FC236}">
                <a16:creationId xmlns:a16="http://schemas.microsoft.com/office/drawing/2014/main" id="{69C6764D-7C43-4DB0-8E6D-C077B7C52742}"/>
              </a:ext>
            </a:extLst>
          </p:cNvPr>
          <p:cNvSpPr/>
          <p:nvPr/>
        </p:nvSpPr>
        <p:spPr>
          <a:xfrm>
            <a:off x="537057" y="1440978"/>
            <a:ext cx="3873496" cy="2541622"/>
          </a:xfrm>
          <a:prstGeom prst="rect">
            <a:avLst/>
          </a:prstGeom>
          <a:solidFill>
            <a:schemeClr val="bg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en-FI" b="1">
              <a:solidFill>
                <a:prstClr val="white"/>
              </a:solidFill>
              <a:latin typeface="Roboto Light" panose="0200000000000000000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CE1C4206-5775-4899-8D67-1D4AF36B218F}"/>
              </a:ext>
            </a:extLst>
          </p:cNvPr>
          <p:cNvSpPr txBox="1"/>
          <p:nvPr/>
        </p:nvSpPr>
        <p:spPr>
          <a:xfrm>
            <a:off x="548639" y="1454271"/>
            <a:ext cx="3864609" cy="2541622"/>
          </a:xfrm>
          <a:prstGeom prst="rect">
            <a:avLst/>
          </a:prstGeom>
          <a:noFill/>
        </p:spPr>
        <p:txBody>
          <a:bodyPr wrap="square" lIns="36000" rIns="36000" rtlCol="0" anchor="t">
            <a:noAutofit/>
          </a:bodyPr>
          <a:lstStyle/>
          <a:p>
            <a:pPr marL="179996" indent="-179996" defTabSz="91437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FFC000"/>
                </a:solidFill>
                <a:latin typeface="Roboto Light" panose="02000000000000000000"/>
              </a:rPr>
              <a:t>Established</a:t>
            </a:r>
            <a:r>
              <a:rPr lang="en-US" sz="1000" dirty="0">
                <a:solidFill>
                  <a:prstClr val="white"/>
                </a:solidFill>
                <a:latin typeface="Roboto Light" panose="02000000000000000000"/>
              </a:rPr>
              <a:t> in 2016 as a spin-off from Nokia with a highly experienced team</a:t>
            </a:r>
          </a:p>
          <a:p>
            <a:pPr marL="179996" indent="-179996" defTabSz="91437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FFC000"/>
                </a:solidFill>
                <a:latin typeface="Roboto Light" panose="02000000000000000000"/>
              </a:rPr>
              <a:t>Provides</a:t>
            </a:r>
            <a:r>
              <a:rPr lang="en-US" sz="1000" dirty="0">
                <a:solidFill>
                  <a:prstClr val="white"/>
                </a:solidFill>
                <a:latin typeface="Roboto Light" panose="02000000000000000000"/>
              </a:rPr>
              <a:t> game-changing solutions for professional imaging and detection</a:t>
            </a:r>
          </a:p>
          <a:p>
            <a:pPr marL="179996" indent="-179996" defTabSz="914378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FFC000"/>
                </a:solidFill>
                <a:latin typeface="Roboto Light" panose="02000000000000000000"/>
              </a:rPr>
              <a:t>Presence</a:t>
            </a:r>
            <a:r>
              <a:rPr lang="en-US" sz="1000" dirty="0">
                <a:solidFill>
                  <a:prstClr val="white"/>
                </a:solidFill>
                <a:latin typeface="Roboto Light" panose="02000000000000000000"/>
              </a:rPr>
              <a:t> in Finland (Espoo) and the UK (Cambridge) with both locations having R&amp;D and production</a:t>
            </a:r>
          </a:p>
          <a:p>
            <a:pPr marL="637184" lvl="1" indent="-179996" defTabSz="914378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prstClr val="white"/>
                </a:solidFill>
                <a:latin typeface="Roboto Light" panose="02000000000000000000"/>
              </a:rPr>
              <a:t>Espoo, Finland</a:t>
            </a:r>
            <a:r>
              <a:rPr lang="en-US" sz="1000" dirty="0">
                <a:solidFill>
                  <a:prstClr val="white"/>
                </a:solidFill>
                <a:latin typeface="Roboto Light" panose="02000000000000000000"/>
              </a:rPr>
              <a:t>: camera electronics &amp; image sensors</a:t>
            </a:r>
          </a:p>
          <a:p>
            <a:pPr marL="637184" lvl="1" indent="-179996" defTabSz="91437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prstClr val="white"/>
                </a:solidFill>
                <a:latin typeface="Roboto Light" panose="02000000000000000000"/>
              </a:rPr>
              <a:t>Cambridge, UK</a:t>
            </a:r>
            <a:r>
              <a:rPr lang="en-US" sz="1000" dirty="0">
                <a:solidFill>
                  <a:prstClr val="white"/>
                </a:solidFill>
                <a:latin typeface="Roboto Light" panose="02000000000000000000"/>
              </a:rPr>
              <a:t>: photosensitive nanomaterials</a:t>
            </a:r>
          </a:p>
          <a:p>
            <a:pPr marL="179996" indent="-179996" defTabSz="914378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FFC000"/>
                </a:solidFill>
                <a:latin typeface="Roboto Light" panose="02000000000000000000"/>
              </a:rPr>
              <a:t>Team</a:t>
            </a:r>
            <a:r>
              <a:rPr lang="en-US" sz="1000" dirty="0">
                <a:solidFill>
                  <a:prstClr val="white"/>
                </a:solidFill>
                <a:latin typeface="Roboto Light" panose="02000000000000000000"/>
              </a:rPr>
              <a:t> of 35 highly skilled professionals with world-class research and venture building background</a:t>
            </a:r>
          </a:p>
          <a:p>
            <a:pPr marL="637184" lvl="1" indent="-179996" defTabSz="914378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prstClr val="white"/>
                </a:solidFill>
                <a:latin typeface="Roboto Light" panose="02000000000000000000"/>
              </a:rPr>
              <a:t>Motivated</a:t>
            </a:r>
            <a:r>
              <a:rPr lang="en-US" sz="1000" dirty="0">
                <a:solidFill>
                  <a:prstClr val="white"/>
                </a:solidFill>
                <a:latin typeface="Roboto Light" panose="02000000000000000000"/>
              </a:rPr>
              <a:t> personnel with great retention</a:t>
            </a:r>
          </a:p>
          <a:p>
            <a:pPr marL="179996" indent="-179996" defTabSz="91437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FFC000"/>
                </a:solidFill>
                <a:latin typeface="Roboto Light" panose="02000000000000000000"/>
              </a:rPr>
              <a:t>Unique skills</a:t>
            </a:r>
            <a:r>
              <a:rPr lang="en-US" sz="1000" dirty="0">
                <a:solidFill>
                  <a:srgbClr val="FFC000"/>
                </a:solidFill>
                <a:latin typeface="Roboto Light" panose="02000000000000000000"/>
              </a:rPr>
              <a:t> </a:t>
            </a:r>
            <a:r>
              <a:rPr lang="en-US" sz="1000" dirty="0">
                <a:solidFill>
                  <a:prstClr val="white"/>
                </a:solidFill>
                <a:latin typeface="Roboto Light" panose="02000000000000000000"/>
              </a:rPr>
              <a:t>in combining graphene, nanostructured optical absorbers and state-of-the-art custom ROIC</a:t>
            </a:r>
            <a:r>
              <a:rPr lang="en-US" sz="1000" baseline="30000" dirty="0">
                <a:solidFill>
                  <a:prstClr val="white"/>
                </a:solidFill>
                <a:latin typeface="Roboto Light" panose="02000000000000000000"/>
              </a:rPr>
              <a:t>(1)</a:t>
            </a:r>
            <a:r>
              <a:rPr lang="en-US" sz="1000" dirty="0">
                <a:solidFill>
                  <a:prstClr val="white"/>
                </a:solidFill>
                <a:latin typeface="Roboto Light" panose="02000000000000000000"/>
              </a:rPr>
              <a:t> design &amp; circuitry</a:t>
            </a:r>
          </a:p>
          <a:p>
            <a:pPr marL="179996" indent="-179996" defTabSz="914378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000" dirty="0">
              <a:solidFill>
                <a:prstClr val="white"/>
              </a:solidFill>
              <a:latin typeface="Roboto Light" panose="0200000000000000000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6F20B841-8037-4C4E-9684-7848660B4612}"/>
              </a:ext>
            </a:extLst>
          </p:cNvPr>
          <p:cNvSpPr/>
          <p:nvPr/>
        </p:nvSpPr>
        <p:spPr>
          <a:xfrm>
            <a:off x="4730755" y="1587468"/>
            <a:ext cx="1761583" cy="199849"/>
          </a:xfrm>
          <a:prstGeom prst="rect">
            <a:avLst/>
          </a:prstGeom>
          <a:solidFill>
            <a:srgbClr val="FF7F00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sz="900">
                <a:solidFill>
                  <a:prstClr val="black"/>
                </a:solidFill>
                <a:latin typeface="Roboto Light" panose="02000000000000000000"/>
              </a:rPr>
              <a:t>Emberion VIS-SWIR Camera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20ED556-7B48-4B02-B283-B1E76B343965}"/>
              </a:ext>
            </a:extLst>
          </p:cNvPr>
          <p:cNvSpPr/>
          <p:nvPr/>
        </p:nvSpPr>
        <p:spPr>
          <a:xfrm>
            <a:off x="6842668" y="1587468"/>
            <a:ext cx="1761583" cy="199849"/>
          </a:xfrm>
          <a:prstGeom prst="rect">
            <a:avLst/>
          </a:prstGeom>
          <a:solidFill>
            <a:srgbClr val="FF7F00"/>
          </a:solidFill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sz="900" dirty="0">
                <a:solidFill>
                  <a:prstClr val="black"/>
                </a:solidFill>
                <a:latin typeface="Roboto Light" panose="02000000000000000000"/>
              </a:rPr>
              <a:t>Emberion Image Sensor</a:t>
            </a:r>
          </a:p>
        </p:txBody>
      </p:sp>
      <p:pic>
        <p:nvPicPr>
          <p:cNvPr id="100" name="Picture 99" descr="A picture containing case, accessory&#10;&#10;Description automatically generated">
            <a:extLst>
              <a:ext uri="{FF2B5EF4-FFF2-40B4-BE49-F238E27FC236}">
                <a16:creationId xmlns:a16="http://schemas.microsoft.com/office/drawing/2014/main" id="{AC806127-32E3-4219-970E-02240B343F0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7857" y="2346705"/>
            <a:ext cx="1751202" cy="917957"/>
          </a:xfrm>
          <a:prstGeom prst="rect">
            <a:avLst/>
          </a:prstGeom>
          <a:effectLst>
            <a:softEdge rad="50800"/>
          </a:effectLst>
        </p:spPr>
      </p:pic>
      <p:sp>
        <p:nvSpPr>
          <p:cNvPr id="103" name="TextBox 102">
            <a:extLst>
              <a:ext uri="{FF2B5EF4-FFF2-40B4-BE49-F238E27FC236}">
                <a16:creationId xmlns:a16="http://schemas.microsoft.com/office/drawing/2014/main" id="{3CD28929-669C-4619-8887-9A92C3D24B21}"/>
              </a:ext>
            </a:extLst>
          </p:cNvPr>
          <p:cNvSpPr txBox="1"/>
          <p:nvPr/>
        </p:nvSpPr>
        <p:spPr>
          <a:xfrm>
            <a:off x="6883409" y="1780896"/>
            <a:ext cx="1680099" cy="306062"/>
          </a:xfrm>
          <a:prstGeom prst="rect">
            <a:avLst/>
          </a:prstGeom>
          <a:noFill/>
        </p:spPr>
        <p:txBody>
          <a:bodyPr wrap="square" lIns="36000" rIns="36000" rtlCol="0" anchor="t">
            <a:noAutofit/>
          </a:bodyPr>
          <a:lstStyle/>
          <a:p>
            <a:pPr algn="ctr" defTabSz="914378"/>
            <a:r>
              <a:rPr lang="en-US" sz="800">
                <a:solidFill>
                  <a:prstClr val="white"/>
                </a:solidFill>
                <a:latin typeface="Roboto Light" panose="02000000000000000000"/>
              </a:rPr>
              <a:t>High-performance VGA image sensor 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0A5F01E1-B905-4414-A176-ED65D0901192}"/>
              </a:ext>
            </a:extLst>
          </p:cNvPr>
          <p:cNvSpPr txBox="1"/>
          <p:nvPr/>
        </p:nvSpPr>
        <p:spPr>
          <a:xfrm>
            <a:off x="4771496" y="1780896"/>
            <a:ext cx="1680099" cy="306062"/>
          </a:xfrm>
          <a:prstGeom prst="rect">
            <a:avLst/>
          </a:prstGeom>
          <a:noFill/>
        </p:spPr>
        <p:txBody>
          <a:bodyPr wrap="square" lIns="36000" rIns="36000" rtlCol="0" anchor="t">
            <a:noAutofit/>
          </a:bodyPr>
          <a:lstStyle/>
          <a:p>
            <a:pPr algn="ctr" defTabSz="914378"/>
            <a:r>
              <a:rPr lang="en-US" sz="800">
                <a:solidFill>
                  <a:prstClr val="white"/>
                </a:solidFill>
                <a:latin typeface="Roboto Light" panose="02000000000000000000"/>
              </a:rPr>
              <a:t>First-in-class SWIR VGA camera with extended wavelength range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E7A6D6DA-FD7D-4F09-8A94-C93D19D30B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752" y="212593"/>
            <a:ext cx="8064499" cy="311150"/>
          </a:xfrm>
        </p:spPr>
        <p:txBody>
          <a:bodyPr vert="horz" lIns="0" tIns="34290" rIns="0" bIns="34290" rtlCol="0">
            <a:no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Roboto Light" panose="02000000000000000000"/>
              </a:rPr>
              <a:t>Emberion</a:t>
            </a:r>
            <a:r>
              <a:rPr lang="en-US" sz="2000" dirty="0">
                <a:solidFill>
                  <a:schemeClr val="bg1"/>
                </a:solidFill>
                <a:latin typeface="Roboto Light" panose="02000000000000000000"/>
              </a:rPr>
              <a:t> in brief</a:t>
            </a:r>
          </a:p>
        </p:txBody>
      </p:sp>
      <p:pic>
        <p:nvPicPr>
          <p:cNvPr id="53" name="Picture 2" descr="Image result for emberion logo">
            <a:extLst>
              <a:ext uri="{FF2B5EF4-FFF2-40B4-BE49-F238E27FC236}">
                <a16:creationId xmlns:a16="http://schemas.microsoft.com/office/drawing/2014/main" id="{35742E60-0E09-4449-871F-115240A8F8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363" y="1206573"/>
            <a:ext cx="843955" cy="246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2B90A15B-547D-47A3-B109-0294F84569F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-1" b="23149"/>
          <a:stretch/>
        </p:blipFill>
        <p:spPr>
          <a:xfrm>
            <a:off x="6041120" y="3840850"/>
            <a:ext cx="236226" cy="226931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D52F7C75-696A-410B-A8A2-59A2F6DCD986}"/>
              </a:ext>
            </a:extLst>
          </p:cNvPr>
          <p:cNvSpPr txBox="1"/>
          <p:nvPr/>
        </p:nvSpPr>
        <p:spPr>
          <a:xfrm>
            <a:off x="5797433" y="4102334"/>
            <a:ext cx="783779" cy="306062"/>
          </a:xfrm>
          <a:prstGeom prst="rect">
            <a:avLst/>
          </a:prstGeom>
          <a:noFill/>
        </p:spPr>
        <p:txBody>
          <a:bodyPr wrap="square" lIns="36000" rIns="36000" rtlCol="0" anchor="t">
            <a:noAutofit/>
          </a:bodyPr>
          <a:lstStyle/>
          <a:p>
            <a:pPr algn="ctr" defTabSz="914378"/>
            <a:r>
              <a:rPr lang="en-US" sz="800" dirty="0">
                <a:solidFill>
                  <a:prstClr val="white"/>
                </a:solidFill>
                <a:latin typeface="Roboto Light" panose="02000000000000000000"/>
              </a:rPr>
              <a:t>35 employe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DE94B15-FFBC-43BE-AC7B-598AC144F541}"/>
              </a:ext>
            </a:extLst>
          </p:cNvPr>
          <p:cNvGrpSpPr/>
          <p:nvPr/>
        </p:nvGrpSpPr>
        <p:grpSpPr>
          <a:xfrm>
            <a:off x="6753792" y="3820028"/>
            <a:ext cx="783779" cy="559947"/>
            <a:chOff x="2589990" y="3976660"/>
            <a:chExt cx="783779" cy="559947"/>
          </a:xfrm>
        </p:grpSpPr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BAAAC783-8BFF-4FFC-912A-77B292316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847592" y="3976660"/>
              <a:ext cx="268575" cy="268575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26307C8-57F0-4F47-BA83-B78B0725F109}"/>
                </a:ext>
              </a:extLst>
            </p:cNvPr>
            <p:cNvSpPr txBox="1"/>
            <p:nvPr/>
          </p:nvSpPr>
          <p:spPr>
            <a:xfrm>
              <a:off x="2589990" y="4230545"/>
              <a:ext cx="783779" cy="306062"/>
            </a:xfrm>
            <a:prstGeom prst="rect">
              <a:avLst/>
            </a:prstGeom>
            <a:noFill/>
          </p:spPr>
          <p:txBody>
            <a:bodyPr wrap="square" lIns="36000" rIns="36000" rtlCol="0" anchor="t">
              <a:noAutofit/>
            </a:bodyPr>
            <a:lstStyle/>
            <a:p>
              <a:pPr algn="ctr" defTabSz="914378"/>
              <a:r>
                <a:rPr lang="en-US" sz="800">
                  <a:solidFill>
                    <a:prstClr val="white"/>
                  </a:solidFill>
                  <a:latin typeface="Roboto Light" panose="02000000000000000000"/>
                </a:rPr>
                <a:t>2 locations (Finland &amp; UK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5F15E42-5227-46BA-A973-D0BD78F24558}"/>
              </a:ext>
            </a:extLst>
          </p:cNvPr>
          <p:cNvGrpSpPr/>
          <p:nvPr/>
        </p:nvGrpSpPr>
        <p:grpSpPr>
          <a:xfrm>
            <a:off x="7710151" y="3856363"/>
            <a:ext cx="783779" cy="523612"/>
            <a:chOff x="3456626" y="4012995"/>
            <a:chExt cx="783779" cy="523612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C37940C8-7AF7-46C8-84CC-17915BAE2352}"/>
                </a:ext>
              </a:extLst>
            </p:cNvPr>
            <p:cNvSpPr txBox="1"/>
            <p:nvPr/>
          </p:nvSpPr>
          <p:spPr>
            <a:xfrm>
              <a:off x="3456626" y="4230545"/>
              <a:ext cx="783779" cy="306062"/>
            </a:xfrm>
            <a:prstGeom prst="rect">
              <a:avLst/>
            </a:prstGeom>
            <a:noFill/>
          </p:spPr>
          <p:txBody>
            <a:bodyPr wrap="square" lIns="0" rIns="0" rtlCol="0" anchor="t">
              <a:noAutofit/>
            </a:bodyPr>
            <a:lstStyle/>
            <a:p>
              <a:pPr algn="ctr" defTabSz="914378"/>
              <a:r>
                <a:rPr lang="en-US" sz="800" dirty="0">
                  <a:solidFill>
                    <a:prstClr val="white"/>
                  </a:solidFill>
                  <a:latin typeface="Roboto Light" panose="02000000000000000000"/>
                </a:rPr>
                <a:t>Founder member of the EU FET Graphene Flagship project</a:t>
              </a: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D9CC9BDF-18A4-4878-A719-CB2D5A1659FF}"/>
                </a:ext>
              </a:extLst>
            </p:cNvPr>
            <p:cNvGrpSpPr/>
            <p:nvPr/>
          </p:nvGrpSpPr>
          <p:grpSpPr>
            <a:xfrm>
              <a:off x="3546963" y="4012995"/>
              <a:ext cx="603105" cy="193220"/>
              <a:chOff x="6445671" y="3437100"/>
              <a:chExt cx="883007" cy="257176"/>
            </a:xfrm>
          </p:grpSpPr>
          <p:sp>
            <p:nvSpPr>
              <p:cNvPr id="64" name="Hexagon 63">
                <a:extLst>
                  <a:ext uri="{FF2B5EF4-FFF2-40B4-BE49-F238E27FC236}">
                    <a16:creationId xmlns:a16="http://schemas.microsoft.com/office/drawing/2014/main" id="{9DB16001-B61B-4465-AE44-4240159F1BE7}"/>
                  </a:ext>
                </a:extLst>
              </p:cNvPr>
              <p:cNvSpPr/>
              <p:nvPr/>
            </p:nvSpPr>
            <p:spPr>
              <a:xfrm>
                <a:off x="6445671" y="3437100"/>
                <a:ext cx="883007" cy="257176"/>
              </a:xfrm>
              <a:prstGeom prst="hexagon">
                <a:avLst>
                  <a:gd name="adj" fmla="val 0"/>
                  <a:gd name="vf" fmla="val 115470"/>
                </a:avLst>
              </a:prstGeom>
              <a:solidFill>
                <a:schemeClr val="bg1"/>
              </a:solidFill>
              <a:ln w="63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/>
                <a:endParaRPr lang="en-US">
                  <a:solidFill>
                    <a:prstClr val="white"/>
                  </a:solidFill>
                  <a:latin typeface="Roboto Light" panose="02000000000000000000"/>
                </a:endParaRPr>
              </a:p>
            </p:txBody>
          </p:sp>
          <p:pic>
            <p:nvPicPr>
              <p:cNvPr id="65" name="Picture 16" descr="Press Room | Graphene Flagship">
                <a:extLst>
                  <a:ext uri="{FF2B5EF4-FFF2-40B4-BE49-F238E27FC236}">
                    <a16:creationId xmlns:a16="http://schemas.microsoft.com/office/drawing/2014/main" id="{D0CF3F44-E7E2-4C36-BCF1-0F5D525A722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90391" y="3467582"/>
                <a:ext cx="767615" cy="2133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D17167B-5FCB-42D7-97B6-C9DB2A10A646}"/>
              </a:ext>
            </a:extLst>
          </p:cNvPr>
          <p:cNvGrpSpPr/>
          <p:nvPr/>
        </p:nvGrpSpPr>
        <p:grpSpPr>
          <a:xfrm>
            <a:off x="4841074" y="3852599"/>
            <a:ext cx="783779" cy="527376"/>
            <a:chOff x="587549" y="4009231"/>
            <a:chExt cx="783779" cy="527376"/>
          </a:xfrm>
        </p:grpSpPr>
        <p:pic>
          <p:nvPicPr>
            <p:cNvPr id="35" name="Picture 2" descr="Image result for emberion logo">
              <a:extLst>
                <a:ext uri="{FF2B5EF4-FFF2-40B4-BE49-F238E27FC236}">
                  <a16:creationId xmlns:a16="http://schemas.microsoft.com/office/drawing/2014/main" id="{602AD322-43F2-4CBD-B850-33B967B9AA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696" y="4009231"/>
              <a:ext cx="697484" cy="203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82D9FFB-0457-4D15-BBED-BEBCFCFB254A}"/>
                </a:ext>
              </a:extLst>
            </p:cNvPr>
            <p:cNvSpPr txBox="1"/>
            <p:nvPr/>
          </p:nvSpPr>
          <p:spPr>
            <a:xfrm>
              <a:off x="587549" y="4230545"/>
              <a:ext cx="783779" cy="306062"/>
            </a:xfrm>
            <a:prstGeom prst="rect">
              <a:avLst/>
            </a:prstGeom>
            <a:noFill/>
          </p:spPr>
          <p:txBody>
            <a:bodyPr wrap="square" lIns="36000" rIns="36000" rtlCol="0" anchor="t">
              <a:noAutofit/>
            </a:bodyPr>
            <a:lstStyle/>
            <a:p>
              <a:pPr algn="ctr" defTabSz="914378"/>
              <a:r>
                <a:rPr lang="en-US" sz="800">
                  <a:solidFill>
                    <a:prstClr val="white"/>
                  </a:solidFill>
                  <a:latin typeface="Roboto Light" panose="02000000000000000000"/>
                </a:rPr>
                <a:t>Established in 2016</a:t>
              </a:r>
            </a:p>
          </p:txBody>
        </p:sp>
      </p:grp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98C5B856-E7BC-4406-B88D-BB7009679111}"/>
              </a:ext>
            </a:extLst>
          </p:cNvPr>
          <p:cNvSpPr txBox="1">
            <a:spLocks/>
          </p:cNvSpPr>
          <p:nvPr/>
        </p:nvSpPr>
        <p:spPr>
          <a:xfrm>
            <a:off x="539748" y="477580"/>
            <a:ext cx="8554247" cy="31115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rgbClr val="FF7F0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/>
            <a:r>
              <a:rPr lang="en-US" dirty="0">
                <a:solidFill>
                  <a:srgbClr val="F79646"/>
                </a:solidFill>
                <a:latin typeface="Roboto Light" panose="02000000000000000000"/>
              </a:rPr>
              <a:t>From leading edge research to disruptive produc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360FEF-D119-637C-3FC1-CF57E6F0BBF7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86805" y="2344475"/>
            <a:ext cx="1104809" cy="97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14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320360C5-AA7F-4467-8C4F-960C42D789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25375" y="2718725"/>
            <a:ext cx="970492" cy="1548475"/>
          </a:xfrm>
          <a:prstGeom prst="rect">
            <a:avLst/>
          </a:prstGeom>
        </p:spPr>
      </p:pic>
      <p:pic>
        <p:nvPicPr>
          <p:cNvPr id="35" name="Picture 34" descr="A picture containing text, indoor, floor, person&#10;&#10;Description automatically generated">
            <a:extLst>
              <a:ext uri="{FF2B5EF4-FFF2-40B4-BE49-F238E27FC236}">
                <a16:creationId xmlns:a16="http://schemas.microsoft.com/office/drawing/2014/main" id="{44BA33AA-9C9F-4018-AADE-A73310774AE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2989" y="1090614"/>
            <a:ext cx="980105" cy="1551634"/>
          </a:xfrm>
          <a:prstGeom prst="rect">
            <a:avLst/>
          </a:prstGeom>
        </p:spPr>
      </p:pic>
      <p:pic>
        <p:nvPicPr>
          <p:cNvPr id="30" name="Picture 29" descr="A picture containing text, indoor, person, toilet&#10;&#10;Description automatically generated">
            <a:extLst>
              <a:ext uri="{FF2B5EF4-FFF2-40B4-BE49-F238E27FC236}">
                <a16:creationId xmlns:a16="http://schemas.microsoft.com/office/drawing/2014/main" id="{097217C8-300A-4AD6-8248-F4EEAE3A568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7882" y="1089025"/>
            <a:ext cx="955965" cy="1553222"/>
          </a:xfrm>
          <a:prstGeom prst="rect">
            <a:avLst/>
          </a:prstGeom>
        </p:spPr>
      </p:pic>
      <p:pic>
        <p:nvPicPr>
          <p:cNvPr id="33" name="Picture 32" descr="A picture containing person, indoor, person, window&#10;&#10;Description automatically generated">
            <a:extLst>
              <a:ext uri="{FF2B5EF4-FFF2-40B4-BE49-F238E27FC236}">
                <a16:creationId xmlns:a16="http://schemas.microsoft.com/office/drawing/2014/main" id="{A394E6EA-82EC-474F-A11B-0CA8BDE0087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6347" y="2718725"/>
            <a:ext cx="976746" cy="154847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35944F53-1C7C-4F1F-B92D-8036ECAD555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2312" y="2718983"/>
            <a:ext cx="961535" cy="1540519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AE75F39-3A69-46E5-A93B-C6603BD94E0B}"/>
              </a:ext>
            </a:extLst>
          </p:cNvPr>
          <p:cNvSpPr txBox="1">
            <a:spLocks/>
          </p:cNvSpPr>
          <p:nvPr/>
        </p:nvSpPr>
        <p:spPr>
          <a:xfrm>
            <a:off x="539752" y="212593"/>
            <a:ext cx="8064499" cy="31115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rgbClr val="FF7F0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892" indent="-342892" defTabSz="914378">
              <a:defRPr/>
            </a:pPr>
            <a:r>
              <a:rPr lang="en-US" sz="2000" dirty="0">
                <a:solidFill>
                  <a:prstClr val="white"/>
                </a:solidFill>
                <a:latin typeface="Roboto Light" panose="02000000000000000000"/>
              </a:rPr>
              <a:t>Versatile expertise in deep technolog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83DC559-3D54-4522-9051-C44D8E6F4C5F}"/>
              </a:ext>
            </a:extLst>
          </p:cNvPr>
          <p:cNvSpPr/>
          <p:nvPr/>
        </p:nvSpPr>
        <p:spPr>
          <a:xfrm>
            <a:off x="3245376" y="2713577"/>
            <a:ext cx="2454589" cy="1552993"/>
          </a:xfrm>
          <a:prstGeom prst="rect">
            <a:avLst/>
          </a:prstGeom>
          <a:noFill/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fi-FI" sz="1600" dirty="0">
              <a:solidFill>
                <a:prstClr val="white"/>
              </a:solidFill>
              <a:latin typeface="Roboto" panose="02000000000000000000" pitchFamily="2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D4A92A9-78F7-450E-A4B4-49FF66E4D284}"/>
              </a:ext>
            </a:extLst>
          </p:cNvPr>
          <p:cNvSpPr/>
          <p:nvPr/>
        </p:nvSpPr>
        <p:spPr>
          <a:xfrm>
            <a:off x="719007" y="1087684"/>
            <a:ext cx="2454589" cy="1552993"/>
          </a:xfrm>
          <a:prstGeom prst="rect">
            <a:avLst/>
          </a:prstGeom>
          <a:noFill/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fi-FI" sz="1600" dirty="0">
              <a:solidFill>
                <a:prstClr val="white"/>
              </a:solidFill>
              <a:latin typeface="Roboto" panose="02000000000000000000" pitchFamily="2" charset="0"/>
            </a:endParaRPr>
          </a:p>
        </p:txBody>
      </p:sp>
      <p:sp>
        <p:nvSpPr>
          <p:cNvPr id="25" name="Content Placeholder 56">
            <a:extLst>
              <a:ext uri="{FF2B5EF4-FFF2-40B4-BE49-F238E27FC236}">
                <a16:creationId xmlns:a16="http://schemas.microsoft.com/office/drawing/2014/main" id="{5BC18E80-1485-4551-BABA-DBDF09713965}"/>
              </a:ext>
            </a:extLst>
          </p:cNvPr>
          <p:cNvSpPr txBox="1">
            <a:spLocks/>
          </p:cNvSpPr>
          <p:nvPr/>
        </p:nvSpPr>
        <p:spPr>
          <a:xfrm>
            <a:off x="733296" y="2736340"/>
            <a:ext cx="1447016" cy="152321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0" i="0" kern="1200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>
              <a:buNone/>
              <a:defRPr/>
            </a:pPr>
            <a:r>
              <a:rPr lang="en-US" sz="900">
                <a:solidFill>
                  <a:srgbClr val="F79646"/>
                </a:solidFill>
                <a:latin typeface="Roboto Light" panose="02000000000000000000"/>
              </a:rPr>
              <a:t>Integrated circuits</a:t>
            </a:r>
          </a:p>
          <a:p>
            <a:pPr marL="0" indent="0" defTabSz="914378">
              <a:buNone/>
              <a:defRPr/>
            </a:pPr>
            <a:endParaRPr lang="en-US" sz="900">
              <a:solidFill>
                <a:prstClr val="white"/>
              </a:solidFill>
              <a:latin typeface="Roboto Light" panose="02000000000000000000"/>
            </a:endParaRPr>
          </a:p>
          <a:p>
            <a:pPr marL="0" indent="0" defTabSz="914378">
              <a:buNone/>
              <a:defRPr/>
            </a:pPr>
            <a:r>
              <a:rPr lang="en-US" sz="900">
                <a:solidFill>
                  <a:prstClr val="white"/>
                </a:solidFill>
                <a:latin typeface="Roboto Light" panose="02000000000000000000"/>
              </a:rPr>
              <a:t>Optimized readout circuitry designed for nanomaterial image sensors: high-speed, low-power, low-noise ROIC</a:t>
            </a:r>
            <a:r>
              <a:rPr lang="en-US" sz="900" baseline="30000">
                <a:solidFill>
                  <a:prstClr val="white"/>
                </a:solidFill>
                <a:latin typeface="Roboto Light" panose="02000000000000000000"/>
              </a:rPr>
              <a:t>(1)</a:t>
            </a:r>
            <a:r>
              <a:rPr lang="en-US" sz="900">
                <a:solidFill>
                  <a:prstClr val="white"/>
                </a:solidFill>
                <a:latin typeface="Roboto Light" panose="02000000000000000000"/>
              </a:rPr>
              <a:t> solutions</a:t>
            </a:r>
          </a:p>
        </p:txBody>
      </p:sp>
      <p:sp>
        <p:nvSpPr>
          <p:cNvPr id="26" name="Content Placeholder 57">
            <a:extLst>
              <a:ext uri="{FF2B5EF4-FFF2-40B4-BE49-F238E27FC236}">
                <a16:creationId xmlns:a16="http://schemas.microsoft.com/office/drawing/2014/main" id="{CDBE5FDB-866C-4361-92B4-187C0DFC4343}"/>
              </a:ext>
            </a:extLst>
          </p:cNvPr>
          <p:cNvSpPr txBox="1">
            <a:spLocks/>
          </p:cNvSpPr>
          <p:nvPr/>
        </p:nvSpPr>
        <p:spPr>
          <a:xfrm>
            <a:off x="3256529" y="1103341"/>
            <a:ext cx="1465102" cy="1524545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0" i="0" kern="1200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>
              <a:buNone/>
              <a:defRPr/>
            </a:pPr>
            <a:r>
              <a:rPr lang="en-US" sz="900">
                <a:solidFill>
                  <a:srgbClr val="F79646"/>
                </a:solidFill>
                <a:latin typeface="Roboto Light" panose="02000000000000000000"/>
              </a:rPr>
              <a:t>Photonics</a:t>
            </a:r>
          </a:p>
          <a:p>
            <a:pPr marL="0" indent="0" defTabSz="914378">
              <a:buNone/>
              <a:defRPr/>
            </a:pPr>
            <a:endParaRPr lang="en-US" sz="900">
              <a:solidFill>
                <a:prstClr val="white"/>
              </a:solidFill>
              <a:latin typeface="Roboto Light" panose="02000000000000000000"/>
            </a:endParaRPr>
          </a:p>
          <a:p>
            <a:pPr marL="0" indent="0" defTabSz="914378">
              <a:buNone/>
              <a:defRPr/>
            </a:pPr>
            <a:r>
              <a:rPr lang="en-US" sz="900" err="1">
                <a:solidFill>
                  <a:prstClr val="white"/>
                </a:solidFill>
                <a:latin typeface="Roboto Light" panose="02000000000000000000"/>
              </a:rPr>
              <a:t>Characterisation</a:t>
            </a:r>
            <a:r>
              <a:rPr lang="en-US" sz="900">
                <a:solidFill>
                  <a:prstClr val="white"/>
                </a:solidFill>
                <a:latin typeface="Roboto Light" panose="02000000000000000000"/>
              </a:rPr>
              <a:t> and calibration of optical sensors, image sensor and cameras: sensor performance and image quality</a:t>
            </a:r>
          </a:p>
        </p:txBody>
      </p:sp>
      <p:sp>
        <p:nvSpPr>
          <p:cNvPr id="28" name="Content Placeholder 59">
            <a:extLst>
              <a:ext uri="{FF2B5EF4-FFF2-40B4-BE49-F238E27FC236}">
                <a16:creationId xmlns:a16="http://schemas.microsoft.com/office/drawing/2014/main" id="{CEC0F40B-DC81-4B5B-8765-36B27B16B86A}"/>
              </a:ext>
            </a:extLst>
          </p:cNvPr>
          <p:cNvSpPr txBox="1">
            <a:spLocks/>
          </p:cNvSpPr>
          <p:nvPr/>
        </p:nvSpPr>
        <p:spPr>
          <a:xfrm>
            <a:off x="5772385" y="1103341"/>
            <a:ext cx="1484627" cy="139914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0" i="0" kern="1200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>
              <a:buNone/>
              <a:defRPr/>
            </a:pPr>
            <a:r>
              <a:rPr lang="en-US" sz="900">
                <a:solidFill>
                  <a:srgbClr val="F79646"/>
                </a:solidFill>
                <a:latin typeface="Roboto Light" panose="02000000000000000000"/>
              </a:rPr>
              <a:t>Nanomaterials</a:t>
            </a:r>
          </a:p>
          <a:p>
            <a:pPr marL="0" indent="0" defTabSz="914378">
              <a:buNone/>
              <a:defRPr/>
            </a:pPr>
            <a:endParaRPr lang="en-US" sz="900">
              <a:solidFill>
                <a:prstClr val="white"/>
              </a:solidFill>
              <a:latin typeface="Roboto Light" panose="02000000000000000000"/>
            </a:endParaRPr>
          </a:p>
          <a:p>
            <a:pPr marL="0" indent="0" defTabSz="914378">
              <a:buNone/>
              <a:defRPr/>
            </a:pPr>
            <a:r>
              <a:rPr lang="en-US" sz="900">
                <a:solidFill>
                  <a:prstClr val="white"/>
                </a:solidFill>
                <a:latin typeface="Roboto Light" panose="02000000000000000000"/>
              </a:rPr>
              <a:t>Chemistry and physics of nanocrystalline semiconductors and 2D nanomaterials from laboratory to scalable manufacturing</a:t>
            </a:r>
          </a:p>
        </p:txBody>
      </p:sp>
      <p:sp>
        <p:nvSpPr>
          <p:cNvPr id="29" name="Content Placeholder 60">
            <a:extLst>
              <a:ext uri="{FF2B5EF4-FFF2-40B4-BE49-F238E27FC236}">
                <a16:creationId xmlns:a16="http://schemas.microsoft.com/office/drawing/2014/main" id="{39E102BD-6841-46DA-BEE7-2C7DF945A115}"/>
              </a:ext>
            </a:extLst>
          </p:cNvPr>
          <p:cNvSpPr txBox="1">
            <a:spLocks/>
          </p:cNvSpPr>
          <p:nvPr/>
        </p:nvSpPr>
        <p:spPr>
          <a:xfrm>
            <a:off x="5772385" y="2736341"/>
            <a:ext cx="1484627" cy="152321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0" i="0" kern="1200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>
              <a:buNone/>
              <a:defRPr/>
            </a:pPr>
            <a:r>
              <a:rPr lang="en-US" sz="900">
                <a:solidFill>
                  <a:srgbClr val="F79646"/>
                </a:solidFill>
                <a:latin typeface="Roboto Light" panose="02000000000000000000"/>
              </a:rPr>
              <a:t>Lean manufacturing</a:t>
            </a:r>
          </a:p>
          <a:p>
            <a:pPr marL="0" indent="0" defTabSz="914378">
              <a:buNone/>
              <a:defRPr/>
            </a:pPr>
            <a:endParaRPr lang="en-US" sz="900">
              <a:solidFill>
                <a:prstClr val="white"/>
              </a:solidFill>
              <a:latin typeface="Roboto Light" panose="02000000000000000000"/>
            </a:endParaRPr>
          </a:p>
          <a:p>
            <a:pPr marL="0" indent="0" defTabSz="914378">
              <a:buNone/>
              <a:defRPr/>
            </a:pPr>
            <a:r>
              <a:rPr lang="en-US" sz="900">
                <a:solidFill>
                  <a:prstClr val="white"/>
                </a:solidFill>
                <a:latin typeface="Roboto Light" panose="02000000000000000000"/>
              </a:rPr>
              <a:t>Scalable proprietary manufacturing process giving a control point through deep in-house know-how and proven operating procedures</a:t>
            </a:r>
          </a:p>
        </p:txBody>
      </p:sp>
      <p:pic>
        <p:nvPicPr>
          <p:cNvPr id="32" name="Picture 31" descr="A picture containing person, indoor, person&#10;&#10;Description automatically generated">
            <a:extLst>
              <a:ext uri="{FF2B5EF4-FFF2-40B4-BE49-F238E27FC236}">
                <a16:creationId xmlns:a16="http://schemas.microsoft.com/office/drawing/2014/main" id="{844CC1AD-71D3-487B-AFC9-18E3DF63E9B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25375" y="1088232"/>
            <a:ext cx="970492" cy="1554016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4DE413B-1ED4-4C1C-80B2-6997B2596793}"/>
              </a:ext>
            </a:extLst>
          </p:cNvPr>
          <p:cNvSpPr/>
          <p:nvPr/>
        </p:nvSpPr>
        <p:spPr>
          <a:xfrm>
            <a:off x="5769932" y="1087684"/>
            <a:ext cx="2454589" cy="1552993"/>
          </a:xfrm>
          <a:prstGeom prst="rect">
            <a:avLst/>
          </a:prstGeom>
          <a:noFill/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fi-FI" sz="1600" dirty="0">
              <a:solidFill>
                <a:prstClr val="white"/>
              </a:solidFill>
              <a:latin typeface="Roboto" panose="020000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8C88050-B3CF-44CF-8183-38432B767D7B}"/>
              </a:ext>
            </a:extLst>
          </p:cNvPr>
          <p:cNvSpPr/>
          <p:nvPr/>
        </p:nvSpPr>
        <p:spPr>
          <a:xfrm>
            <a:off x="5769932" y="2713577"/>
            <a:ext cx="2454589" cy="1552993"/>
          </a:xfrm>
          <a:prstGeom prst="rect">
            <a:avLst/>
          </a:prstGeom>
          <a:noFill/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fi-FI" sz="1600" dirty="0">
              <a:solidFill>
                <a:prstClr val="white"/>
              </a:solidFill>
              <a:latin typeface="Roboto" panose="02000000000000000000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3D95416-BF16-4201-8A48-C062D5997205}"/>
              </a:ext>
            </a:extLst>
          </p:cNvPr>
          <p:cNvSpPr/>
          <p:nvPr/>
        </p:nvSpPr>
        <p:spPr>
          <a:xfrm>
            <a:off x="3245376" y="1087684"/>
            <a:ext cx="2454589" cy="1552993"/>
          </a:xfrm>
          <a:prstGeom prst="rect">
            <a:avLst/>
          </a:prstGeom>
          <a:noFill/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fi-FI" sz="1600" dirty="0">
              <a:solidFill>
                <a:prstClr val="white"/>
              </a:solidFill>
              <a:latin typeface="Roboto" panose="02000000000000000000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6829D72-241B-4A41-8080-FF83493FDC9B}"/>
              </a:ext>
            </a:extLst>
          </p:cNvPr>
          <p:cNvSpPr/>
          <p:nvPr/>
        </p:nvSpPr>
        <p:spPr>
          <a:xfrm>
            <a:off x="719007" y="2713577"/>
            <a:ext cx="2454589" cy="1552993"/>
          </a:xfrm>
          <a:prstGeom prst="rect">
            <a:avLst/>
          </a:prstGeom>
          <a:noFill/>
          <a:ln w="6350">
            <a:solidFill>
              <a:srgbClr val="FF7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fi-FI" sz="1600" dirty="0">
              <a:solidFill>
                <a:prstClr val="white"/>
              </a:solidFill>
              <a:latin typeface="Roboto" panose="02000000000000000000" pitchFamily="2" charset="0"/>
            </a:endParaRPr>
          </a:p>
        </p:txBody>
      </p:sp>
      <p:sp>
        <p:nvSpPr>
          <p:cNvPr id="24" name="Content Placeholder 55">
            <a:extLst>
              <a:ext uri="{FF2B5EF4-FFF2-40B4-BE49-F238E27FC236}">
                <a16:creationId xmlns:a16="http://schemas.microsoft.com/office/drawing/2014/main" id="{79C9BC8F-2B29-4482-B752-0369E462D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3296" y="1103341"/>
            <a:ext cx="1447016" cy="1524545"/>
          </a:xfrm>
          <a:noFill/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900" dirty="0">
                <a:solidFill>
                  <a:schemeClr val="accent6"/>
                </a:solidFill>
                <a:latin typeface="Roboto Light" panose="02000000000000000000"/>
              </a:rPr>
              <a:t>Global approach</a:t>
            </a:r>
          </a:p>
          <a:p>
            <a:pPr marL="0" indent="0">
              <a:buNone/>
            </a:pPr>
            <a:endParaRPr lang="en-US" sz="900" dirty="0">
              <a:latin typeface="Roboto Light" panose="02000000000000000000"/>
            </a:endParaRPr>
          </a:p>
          <a:p>
            <a:pPr marL="0" indent="0">
              <a:buNone/>
            </a:pPr>
            <a:r>
              <a:rPr lang="en-US" sz="900" dirty="0">
                <a:latin typeface="Roboto Light" panose="02000000000000000000"/>
              </a:rPr>
              <a:t>Player in the global technology industry – serving customers globally, working with leading edge partners to solve significant industrial problems</a:t>
            </a:r>
          </a:p>
        </p:txBody>
      </p:sp>
      <p:sp>
        <p:nvSpPr>
          <p:cNvPr id="27" name="Content Placeholder 58">
            <a:extLst>
              <a:ext uri="{FF2B5EF4-FFF2-40B4-BE49-F238E27FC236}">
                <a16:creationId xmlns:a16="http://schemas.microsoft.com/office/drawing/2014/main" id="{F2E9692F-5514-4F08-9AF2-0008F7011233}"/>
              </a:ext>
            </a:extLst>
          </p:cNvPr>
          <p:cNvSpPr txBox="1">
            <a:spLocks/>
          </p:cNvSpPr>
          <p:nvPr/>
        </p:nvSpPr>
        <p:spPr>
          <a:xfrm>
            <a:off x="3256529" y="2736341"/>
            <a:ext cx="1465102" cy="1523212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0" i="0" kern="1200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>
              <a:buNone/>
              <a:defRPr/>
            </a:pPr>
            <a:r>
              <a:rPr lang="en-US" sz="900">
                <a:solidFill>
                  <a:srgbClr val="F79646"/>
                </a:solidFill>
                <a:latin typeface="Roboto Light" panose="02000000000000000000"/>
              </a:rPr>
              <a:t>Camera systems</a:t>
            </a:r>
          </a:p>
          <a:p>
            <a:pPr marL="0" indent="0" defTabSz="914378">
              <a:buNone/>
              <a:defRPr/>
            </a:pPr>
            <a:endParaRPr lang="en-US" sz="900">
              <a:solidFill>
                <a:prstClr val="white"/>
              </a:solidFill>
              <a:latin typeface="Roboto Light" panose="02000000000000000000"/>
            </a:endParaRPr>
          </a:p>
          <a:p>
            <a:pPr marL="0" indent="0" defTabSz="914378">
              <a:buNone/>
              <a:defRPr/>
            </a:pPr>
            <a:r>
              <a:rPr lang="en-US" sz="900">
                <a:solidFill>
                  <a:prstClr val="white"/>
                </a:solidFill>
                <a:latin typeface="Roboto Light" panose="02000000000000000000"/>
              </a:rPr>
              <a:t>Complete vis-SWIR cameras, based on Emberion’s image sensors, ROICs</a:t>
            </a:r>
            <a:r>
              <a:rPr lang="en-US" sz="900" baseline="30000">
                <a:solidFill>
                  <a:prstClr val="white"/>
                </a:solidFill>
                <a:latin typeface="Roboto Light" panose="02000000000000000000"/>
              </a:rPr>
              <a:t>(1)</a:t>
            </a:r>
            <a:r>
              <a:rPr lang="en-US" sz="900">
                <a:solidFill>
                  <a:prstClr val="white"/>
                </a:solidFill>
                <a:latin typeface="Roboto Light" panose="02000000000000000000"/>
              </a:rPr>
              <a:t>, electronics, mechanics, firmware  &amp; PC software</a:t>
            </a:r>
            <a:br>
              <a:rPr lang="en-US" sz="900">
                <a:solidFill>
                  <a:prstClr val="white"/>
                </a:solidFill>
                <a:latin typeface="Roboto Light" panose="02000000000000000000"/>
              </a:rPr>
            </a:br>
            <a:endParaRPr lang="en-US" sz="900">
              <a:solidFill>
                <a:prstClr val="white"/>
              </a:solidFill>
              <a:latin typeface="Roboto Light" panose="0200000000000000000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529FEC73-87B7-4F46-8279-731462724994}"/>
              </a:ext>
            </a:extLst>
          </p:cNvPr>
          <p:cNvSpPr txBox="1">
            <a:spLocks/>
          </p:cNvSpPr>
          <p:nvPr/>
        </p:nvSpPr>
        <p:spPr>
          <a:xfrm>
            <a:off x="539748" y="477580"/>
            <a:ext cx="8258812" cy="31115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rgbClr val="FF7F0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0" i="0" kern="12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>
              <a:defRPr/>
            </a:pPr>
            <a:r>
              <a:rPr lang="en-US" sz="1200">
                <a:solidFill>
                  <a:srgbClr val="F79646"/>
                </a:solidFill>
                <a:latin typeface="Roboto Light" panose="02000000000000000000"/>
              </a:rPr>
              <a:t>Multidisciplinary team solving major global challeng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AFF6CF8-0413-45F7-A039-90193EA29FAA}"/>
              </a:ext>
            </a:extLst>
          </p:cNvPr>
          <p:cNvSpPr txBox="1"/>
          <p:nvPr/>
        </p:nvSpPr>
        <p:spPr>
          <a:xfrm>
            <a:off x="539750" y="4488776"/>
            <a:ext cx="8064499" cy="320329"/>
          </a:xfrm>
          <a:prstGeom prst="rect">
            <a:avLst/>
          </a:prstGeom>
          <a:noFill/>
        </p:spPr>
        <p:txBody>
          <a:bodyPr wrap="square" lIns="36000" rIns="36000" rtlCol="0" anchor="b">
            <a:noAutofit/>
          </a:bodyPr>
          <a:lstStyle/>
          <a:p>
            <a:pPr defTabSz="914378">
              <a:defRPr/>
            </a:pPr>
            <a:r>
              <a:rPr lang="en-US" sz="700" i="1">
                <a:solidFill>
                  <a:prstClr val="white"/>
                </a:solidFill>
                <a:latin typeface="Roboto Light" panose="02000000000000000000"/>
              </a:rPr>
              <a:t>Note: 1) ROIC = Read out integrated circuit (e.g. processes and shapes image signal).</a:t>
            </a:r>
          </a:p>
        </p:txBody>
      </p:sp>
    </p:spTree>
    <p:extLst>
      <p:ext uri="{BB962C8B-B14F-4D97-AF65-F5344CB8AC3E}">
        <p14:creationId xmlns:p14="http://schemas.microsoft.com/office/powerpoint/2010/main" val="231752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108CED8-0323-FE08-3F6C-C8F717AD7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08CED8-0323-FE08-3F6C-C8F717AD7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9A4380FE-D8B5-6303-6A76-DADF206B6A42}"/>
              </a:ext>
            </a:extLst>
          </p:cNvPr>
          <p:cNvGrpSpPr/>
          <p:nvPr/>
        </p:nvGrpSpPr>
        <p:grpSpPr>
          <a:xfrm>
            <a:off x="287160" y="4612622"/>
            <a:ext cx="8358017" cy="133162"/>
            <a:chOff x="287160" y="4592450"/>
            <a:chExt cx="8358017" cy="133162"/>
          </a:xfrm>
        </p:grpSpPr>
        <p:sp>
          <p:nvSpPr>
            <p:cNvPr id="344" name="TextBox 343">
              <a:extLst>
                <a:ext uri="{FF2B5EF4-FFF2-40B4-BE49-F238E27FC236}">
                  <a16:creationId xmlns:a16="http://schemas.microsoft.com/office/drawing/2014/main" id="{46ECEC24-785C-A0C4-7EA9-5C4D76B48D7D}"/>
                </a:ext>
              </a:extLst>
            </p:cNvPr>
            <p:cNvSpPr txBox="1"/>
            <p:nvPr/>
          </p:nvSpPr>
          <p:spPr>
            <a:xfrm>
              <a:off x="1290659" y="4592450"/>
              <a:ext cx="1521108" cy="1331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Research laboratory of Nokia</a:t>
              </a:r>
            </a:p>
          </p:txBody>
        </p:sp>
        <p:sp>
          <p:nvSpPr>
            <p:cNvPr id="345" name="TextBox 344">
              <a:extLst>
                <a:ext uri="{FF2B5EF4-FFF2-40B4-BE49-F238E27FC236}">
                  <a16:creationId xmlns:a16="http://schemas.microsoft.com/office/drawing/2014/main" id="{ECD50A44-80B9-0E4F-D477-6960362DF318}"/>
                </a:ext>
              </a:extLst>
            </p:cNvPr>
            <p:cNvSpPr txBox="1"/>
            <p:nvPr/>
          </p:nvSpPr>
          <p:spPr>
            <a:xfrm>
              <a:off x="6239086" y="4592462"/>
              <a:ext cx="1233648" cy="13315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Independent company</a:t>
              </a:r>
            </a:p>
          </p:txBody>
        </p:sp>
        <p:sp>
          <p:nvSpPr>
            <p:cNvPr id="346" name="TextBox 345">
              <a:extLst>
                <a:ext uri="{FF2B5EF4-FFF2-40B4-BE49-F238E27FC236}">
                  <a16:creationId xmlns:a16="http://schemas.microsoft.com/office/drawing/2014/main" id="{A6B79D0B-733A-0880-3DFA-E23D7506B39C}"/>
                </a:ext>
              </a:extLst>
            </p:cNvPr>
            <p:cNvSpPr txBox="1"/>
            <p:nvPr/>
          </p:nvSpPr>
          <p:spPr>
            <a:xfrm>
              <a:off x="3864562" y="4592450"/>
              <a:ext cx="1401851" cy="13315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Nokia business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incubation</a:t>
              </a:r>
            </a:p>
          </p:txBody>
        </p:sp>
        <p:cxnSp>
          <p:nvCxnSpPr>
            <p:cNvPr id="347" name="Straight Arrow Connector 346">
              <a:extLst>
                <a:ext uri="{FF2B5EF4-FFF2-40B4-BE49-F238E27FC236}">
                  <a16:creationId xmlns:a16="http://schemas.microsoft.com/office/drawing/2014/main" id="{B8823013-D910-BC7F-3ABC-30039BA7352F}"/>
                </a:ext>
              </a:extLst>
            </p:cNvPr>
            <p:cNvCxnSpPr>
              <a:cxnSpLocks/>
              <a:stCxn id="344" idx="1"/>
            </p:cNvCxnSpPr>
            <p:nvPr/>
          </p:nvCxnSpPr>
          <p:spPr>
            <a:xfrm flipH="1">
              <a:off x="287160" y="4659031"/>
              <a:ext cx="1003499" cy="7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8" name="Straight Arrow Connector 347">
              <a:extLst>
                <a:ext uri="{FF2B5EF4-FFF2-40B4-BE49-F238E27FC236}">
                  <a16:creationId xmlns:a16="http://schemas.microsoft.com/office/drawing/2014/main" id="{4DBBF423-A445-01EA-214C-3874484B19FE}"/>
                </a:ext>
              </a:extLst>
            </p:cNvPr>
            <p:cNvCxnSpPr>
              <a:cxnSpLocks/>
              <a:stCxn id="344" idx="3"/>
            </p:cNvCxnSpPr>
            <p:nvPr/>
          </p:nvCxnSpPr>
          <p:spPr>
            <a:xfrm>
              <a:off x="2811767" y="4659031"/>
              <a:ext cx="1251343" cy="6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9" name="Straight Arrow Connector 348">
              <a:extLst>
                <a:ext uri="{FF2B5EF4-FFF2-40B4-BE49-F238E27FC236}">
                  <a16:creationId xmlns:a16="http://schemas.microsoft.com/office/drawing/2014/main" id="{1B9D7717-6DCE-A038-56A2-3986B5E5D5F6}"/>
                </a:ext>
              </a:extLst>
            </p:cNvPr>
            <p:cNvCxnSpPr>
              <a:cxnSpLocks/>
              <a:stCxn id="345" idx="1"/>
            </p:cNvCxnSpPr>
            <p:nvPr/>
          </p:nvCxnSpPr>
          <p:spPr>
            <a:xfrm flipH="1">
              <a:off x="5146102" y="4659037"/>
              <a:ext cx="1092984" cy="0"/>
            </a:xfrm>
            <a:prstGeom prst="straightConnector1">
              <a:avLst/>
            </a:prstGeom>
            <a:ln>
              <a:solidFill>
                <a:schemeClr val="accent2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0" name="Straight Arrow Connector 349">
              <a:extLst>
                <a:ext uri="{FF2B5EF4-FFF2-40B4-BE49-F238E27FC236}">
                  <a16:creationId xmlns:a16="http://schemas.microsoft.com/office/drawing/2014/main" id="{B18F95C8-137C-5200-A9EA-6467CB0A9B4F}"/>
                </a:ext>
              </a:extLst>
            </p:cNvPr>
            <p:cNvCxnSpPr>
              <a:cxnSpLocks/>
              <a:stCxn id="345" idx="3"/>
            </p:cNvCxnSpPr>
            <p:nvPr/>
          </p:nvCxnSpPr>
          <p:spPr>
            <a:xfrm>
              <a:off x="7472734" y="4659037"/>
              <a:ext cx="1172443" cy="1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9235FC0D-CB08-7ED4-1838-F64700EC06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6149" y="4867177"/>
            <a:ext cx="281555" cy="226317"/>
          </a:xfrm>
          <a:prstGeom prst="rect">
            <a:avLst/>
          </a:prstGeom>
        </p:spPr>
        <p:txBody>
          <a:bodyPr anchor="ctr"/>
          <a:lstStyle>
            <a:lvl1pPr algn="ctr">
              <a:defRPr sz="825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5E552F-9C1E-412F-BFB9-F0B1BD6D0DD5}" type="slidenum"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" panose="000005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i-FI" sz="7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ontserrat" panose="000005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22BD634-E3C9-6F1B-EDF3-2B35D0B56FB4}"/>
              </a:ext>
            </a:extLst>
          </p:cNvPr>
          <p:cNvCxnSpPr>
            <a:cxnSpLocks/>
          </p:cNvCxnSpPr>
          <p:nvPr/>
        </p:nvCxnSpPr>
        <p:spPr>
          <a:xfrm>
            <a:off x="8764793" y="4922313"/>
            <a:ext cx="0" cy="11604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6F57629C-072C-FBF7-8366-1E20289067B9}"/>
              </a:ext>
            </a:extLst>
          </p:cNvPr>
          <p:cNvSpPr txBox="1">
            <a:spLocks/>
          </p:cNvSpPr>
          <p:nvPr/>
        </p:nvSpPr>
        <p:spPr>
          <a:xfrm>
            <a:off x="351790" y="4798209"/>
            <a:ext cx="6185680" cy="237657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" panose="00000500000000000000" pitchFamily="2" charset="0"/>
              </a:rPr>
              <a:t>1) Formerly Verso Ventures</a:t>
            </a:r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74F0CD63-CB82-15B8-CF5F-3343A062D68B}"/>
              </a:ext>
            </a:extLst>
          </p:cNvPr>
          <p:cNvSpPr txBox="1">
            <a:spLocks/>
          </p:cNvSpPr>
          <p:nvPr/>
        </p:nvSpPr>
        <p:spPr>
          <a:xfrm>
            <a:off x="282762" y="248587"/>
            <a:ext cx="7986395" cy="244873"/>
          </a:xfrm>
          <a:prstGeom prst="rect">
            <a:avLst/>
          </a:prstGeom>
        </p:spPr>
        <p:txBody>
          <a:bodyPr vert="horz" wrap="none" lIns="3600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5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rom leading edge research to disruptive innovation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8C31B88-D432-530C-E45F-1454AC47BF2A}"/>
              </a:ext>
            </a:extLst>
          </p:cNvPr>
          <p:cNvSpPr txBox="1">
            <a:spLocks/>
          </p:cNvSpPr>
          <p:nvPr/>
        </p:nvSpPr>
        <p:spPr>
          <a:xfrm>
            <a:off x="231961" y="493461"/>
            <a:ext cx="7986395" cy="3111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rgbClr val="FF7F00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7F00"/>
                </a:solidFill>
                <a:effectLst/>
                <a:uLnTx/>
                <a:uFillTx/>
                <a:latin typeface="Montserrat" panose="00000500000000000000" pitchFamily="2" charset="0"/>
              </a:rPr>
              <a:t>Timeline of significant innovations in the company’s history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97014BD-52A1-AC53-F9D8-A56F22C4373F}"/>
              </a:ext>
            </a:extLst>
          </p:cNvPr>
          <p:cNvGrpSpPr/>
          <p:nvPr/>
        </p:nvGrpSpPr>
        <p:grpSpPr>
          <a:xfrm>
            <a:off x="82067" y="817571"/>
            <a:ext cx="8935625" cy="3759793"/>
            <a:chOff x="82067" y="770503"/>
            <a:chExt cx="8935625" cy="3759793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471797-C527-E46C-0E62-A4DC570882B7}"/>
                </a:ext>
              </a:extLst>
            </p:cNvPr>
            <p:cNvCxnSpPr>
              <a:cxnSpLocks/>
            </p:cNvCxnSpPr>
            <p:nvPr/>
          </p:nvCxnSpPr>
          <p:spPr>
            <a:xfrm>
              <a:off x="8680311" y="2272366"/>
              <a:ext cx="0" cy="1956588"/>
            </a:xfrm>
            <a:prstGeom prst="line">
              <a:avLst/>
            </a:pr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</p:cxn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7835D221-D522-A36B-253C-DE7E4101F9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8810" y="4268807"/>
              <a:ext cx="0" cy="176721"/>
            </a:xfrm>
            <a:custGeom>
              <a:avLst/>
              <a:gdLst>
                <a:gd name="T0" fmla="*/ 0 w 1"/>
                <a:gd name="T1" fmla="*/ 0 h 199"/>
                <a:gd name="T2" fmla="*/ 0 w 1"/>
                <a:gd name="T3" fmla="*/ 0 h 199"/>
                <a:gd name="T4" fmla="*/ 1 w 1"/>
                <a:gd name="T5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99">
                  <a:moveTo>
                    <a:pt x="0" y="0"/>
                  </a:moveTo>
                  <a:lnTo>
                    <a:pt x="0" y="0"/>
                  </a:lnTo>
                  <a:lnTo>
                    <a:pt x="1" y="199"/>
                  </a:lnTo>
                </a:path>
              </a:pathLst>
            </a:cu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468D0FB5-0FCC-B287-ED1A-C63E36B13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2949" y="4268807"/>
              <a:ext cx="0" cy="176721"/>
            </a:xfrm>
            <a:custGeom>
              <a:avLst/>
              <a:gdLst>
                <a:gd name="T0" fmla="*/ 0 w 1"/>
                <a:gd name="T1" fmla="*/ 0 h 199"/>
                <a:gd name="T2" fmla="*/ 0 w 1"/>
                <a:gd name="T3" fmla="*/ 0 h 199"/>
                <a:gd name="T4" fmla="*/ 1 w 1"/>
                <a:gd name="T5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99">
                  <a:moveTo>
                    <a:pt x="0" y="0"/>
                  </a:moveTo>
                  <a:lnTo>
                    <a:pt x="0" y="0"/>
                  </a:lnTo>
                  <a:lnTo>
                    <a:pt x="1" y="199"/>
                  </a:lnTo>
                </a:path>
              </a:pathLst>
            </a:cu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cxnSp>
          <p:nvCxnSpPr>
            <p:cNvPr id="383" name="Straight Connector 382">
              <a:extLst>
                <a:ext uri="{FF2B5EF4-FFF2-40B4-BE49-F238E27FC236}">
                  <a16:creationId xmlns:a16="http://schemas.microsoft.com/office/drawing/2014/main" id="{C2DAC4FB-64F4-3139-986B-10F620704C27}"/>
                </a:ext>
              </a:extLst>
            </p:cNvPr>
            <p:cNvCxnSpPr>
              <a:cxnSpLocks/>
            </p:cNvCxnSpPr>
            <p:nvPr/>
          </p:nvCxnSpPr>
          <p:spPr>
            <a:xfrm>
              <a:off x="7565441" y="1615804"/>
              <a:ext cx="0" cy="2618006"/>
            </a:xfrm>
            <a:prstGeom prst="line">
              <a:avLst/>
            </a:pr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</p:cxnSp>
        <p:sp>
          <p:nvSpPr>
            <p:cNvPr id="314" name="Rectangle 10">
              <a:extLst>
                <a:ext uri="{FF2B5EF4-FFF2-40B4-BE49-F238E27FC236}">
                  <a16:creationId xmlns:a16="http://schemas.microsoft.com/office/drawing/2014/main" id="{42D46EF9-C74F-4851-3786-F7F7CF96D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09749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21</a:t>
              </a:r>
            </a:p>
          </p:txBody>
        </p:sp>
        <p:sp>
          <p:nvSpPr>
            <p:cNvPr id="315" name="Rectangle 11">
              <a:extLst>
                <a:ext uri="{FF2B5EF4-FFF2-40B4-BE49-F238E27FC236}">
                  <a16:creationId xmlns:a16="http://schemas.microsoft.com/office/drawing/2014/main" id="{231F18A7-ADE7-5E5A-B482-DDFCF7EB4D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169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07</a:t>
              </a:r>
            </a:p>
          </p:txBody>
        </p:sp>
        <p:sp>
          <p:nvSpPr>
            <p:cNvPr id="316" name="Rectangle 14">
              <a:extLst>
                <a:ext uri="{FF2B5EF4-FFF2-40B4-BE49-F238E27FC236}">
                  <a16:creationId xmlns:a16="http://schemas.microsoft.com/office/drawing/2014/main" id="{8D151D10-2CC0-67A9-4680-DAF83C9ECB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6904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09</a:t>
              </a:r>
            </a:p>
          </p:txBody>
        </p:sp>
        <p:sp>
          <p:nvSpPr>
            <p:cNvPr id="317" name="Rectangle 15">
              <a:extLst>
                <a:ext uri="{FF2B5EF4-FFF2-40B4-BE49-F238E27FC236}">
                  <a16:creationId xmlns:a16="http://schemas.microsoft.com/office/drawing/2014/main" id="{94EC96F5-7C33-C5FC-1D2C-581D76205D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4145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10</a:t>
              </a:r>
            </a:p>
          </p:txBody>
        </p:sp>
        <p:sp>
          <p:nvSpPr>
            <p:cNvPr id="318" name="Rectangle 16">
              <a:extLst>
                <a:ext uri="{FF2B5EF4-FFF2-40B4-BE49-F238E27FC236}">
                  <a16:creationId xmlns:a16="http://schemas.microsoft.com/office/drawing/2014/main" id="{6A2BD6EB-CEB1-D585-83A1-4EA9E70C43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0658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08</a:t>
              </a:r>
            </a:p>
          </p:txBody>
        </p:sp>
        <p:sp>
          <p:nvSpPr>
            <p:cNvPr id="319" name="Rectangle 17">
              <a:extLst>
                <a:ext uri="{FF2B5EF4-FFF2-40B4-BE49-F238E27FC236}">
                  <a16:creationId xmlns:a16="http://schemas.microsoft.com/office/drawing/2014/main" id="{04269713-93A9-4F17-6AC5-7FC2EF9B79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8118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13</a:t>
              </a:r>
            </a:p>
          </p:txBody>
        </p:sp>
        <p:sp>
          <p:nvSpPr>
            <p:cNvPr id="320" name="Rectangle 18">
              <a:extLst>
                <a:ext uri="{FF2B5EF4-FFF2-40B4-BE49-F238E27FC236}">
                  <a16:creationId xmlns:a16="http://schemas.microsoft.com/office/drawing/2014/main" id="{F8709D17-4BBE-8D5D-A024-145185F91D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3110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14</a:t>
              </a:r>
            </a:p>
          </p:txBody>
        </p:sp>
        <p:sp>
          <p:nvSpPr>
            <p:cNvPr id="321" name="Rectangle 19">
              <a:extLst>
                <a:ext uri="{FF2B5EF4-FFF2-40B4-BE49-F238E27FC236}">
                  <a16:creationId xmlns:a16="http://schemas.microsoft.com/office/drawing/2014/main" id="{17863AE0-A852-F74F-8DE9-4BCD81CCFF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9134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11</a:t>
              </a:r>
            </a:p>
          </p:txBody>
        </p:sp>
        <p:sp>
          <p:nvSpPr>
            <p:cNvPr id="322" name="Rectangle 20">
              <a:extLst>
                <a:ext uri="{FF2B5EF4-FFF2-40B4-BE49-F238E27FC236}">
                  <a16:creationId xmlns:a16="http://schemas.microsoft.com/office/drawing/2014/main" id="{ECE71C64-F48B-A76B-A909-9692F4FC96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8451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15</a:t>
              </a:r>
            </a:p>
          </p:txBody>
        </p:sp>
        <p:sp>
          <p:nvSpPr>
            <p:cNvPr id="323" name="Rectangle 21">
              <a:extLst>
                <a:ext uri="{FF2B5EF4-FFF2-40B4-BE49-F238E27FC236}">
                  <a16:creationId xmlns:a16="http://schemas.microsoft.com/office/drawing/2014/main" id="{F4044378-3F80-8DFE-DF89-EAB83F717F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3052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16</a:t>
              </a:r>
            </a:p>
          </p:txBody>
        </p:sp>
        <p:sp>
          <p:nvSpPr>
            <p:cNvPr id="324" name="Rectangle 22">
              <a:extLst>
                <a:ext uri="{FF2B5EF4-FFF2-40B4-BE49-F238E27FC236}">
                  <a16:creationId xmlns:a16="http://schemas.microsoft.com/office/drawing/2014/main" id="{1F880C6A-EA8D-E924-6AFD-4F8918AA75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6375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12</a:t>
              </a:r>
            </a:p>
          </p:txBody>
        </p:sp>
        <p:sp>
          <p:nvSpPr>
            <p:cNvPr id="325" name="Rectangle 33">
              <a:extLst>
                <a:ext uri="{FF2B5EF4-FFF2-40B4-BE49-F238E27FC236}">
                  <a16:creationId xmlns:a16="http://schemas.microsoft.com/office/drawing/2014/main" id="{4EB87D29-3625-46A3-8357-560561774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5663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17</a:t>
              </a:r>
            </a:p>
          </p:txBody>
        </p:sp>
        <p:sp>
          <p:nvSpPr>
            <p:cNvPr id="326" name="Rectangle 34">
              <a:extLst>
                <a:ext uri="{FF2B5EF4-FFF2-40B4-BE49-F238E27FC236}">
                  <a16:creationId xmlns:a16="http://schemas.microsoft.com/office/drawing/2014/main" id="{7046DA5A-3CB2-91E1-CB91-8B05252E5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5284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18</a:t>
              </a:r>
            </a:p>
          </p:txBody>
        </p:sp>
        <p:sp>
          <p:nvSpPr>
            <p:cNvPr id="327" name="Rectangle 35">
              <a:extLst>
                <a:ext uri="{FF2B5EF4-FFF2-40B4-BE49-F238E27FC236}">
                  <a16:creationId xmlns:a16="http://schemas.microsoft.com/office/drawing/2014/main" id="{BCF9DB37-1467-97FC-DC8F-F5589BC3E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9887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19</a:t>
              </a:r>
            </a:p>
          </p:txBody>
        </p:sp>
        <p:sp>
          <p:nvSpPr>
            <p:cNvPr id="328" name="Rectangle 36">
              <a:extLst>
                <a:ext uri="{FF2B5EF4-FFF2-40B4-BE49-F238E27FC236}">
                  <a16:creationId xmlns:a16="http://schemas.microsoft.com/office/drawing/2014/main" id="{311BF993-EAC4-19B8-C294-7280F8C727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877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20</a:t>
              </a:r>
            </a:p>
          </p:txBody>
        </p:sp>
        <p:sp>
          <p:nvSpPr>
            <p:cNvPr id="329" name="Rectangle 37">
              <a:extLst>
                <a:ext uri="{FF2B5EF4-FFF2-40B4-BE49-F238E27FC236}">
                  <a16:creationId xmlns:a16="http://schemas.microsoft.com/office/drawing/2014/main" id="{88215A35-406B-D448-D8E0-86D488BA77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174" y="432547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06</a:t>
              </a:r>
            </a:p>
          </p:txBody>
        </p:sp>
        <p:cxnSp>
          <p:nvCxnSpPr>
            <p:cNvPr id="354" name="Straight Connector 353">
              <a:extLst>
                <a:ext uri="{FF2B5EF4-FFF2-40B4-BE49-F238E27FC236}">
                  <a16:creationId xmlns:a16="http://schemas.microsoft.com/office/drawing/2014/main" id="{6066D605-E81C-0774-4CAB-9C48CE06F0FE}"/>
                </a:ext>
              </a:extLst>
            </p:cNvPr>
            <p:cNvCxnSpPr>
              <a:cxnSpLocks/>
            </p:cNvCxnSpPr>
            <p:nvPr/>
          </p:nvCxnSpPr>
          <p:spPr>
            <a:xfrm>
              <a:off x="513268" y="3572552"/>
              <a:ext cx="0" cy="631135"/>
            </a:xfrm>
            <a:prstGeom prst="line">
              <a:avLst/>
            </a:pr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</p:cxnSp>
        <p:grpSp>
          <p:nvGrpSpPr>
            <p:cNvPr id="355" name="Group 354">
              <a:extLst>
                <a:ext uri="{FF2B5EF4-FFF2-40B4-BE49-F238E27FC236}">
                  <a16:creationId xmlns:a16="http://schemas.microsoft.com/office/drawing/2014/main" id="{37FABDC4-47B0-6D66-7E5D-A4E7A69A270D}"/>
                </a:ext>
              </a:extLst>
            </p:cNvPr>
            <p:cNvGrpSpPr/>
            <p:nvPr/>
          </p:nvGrpSpPr>
          <p:grpSpPr>
            <a:xfrm>
              <a:off x="217047" y="3544321"/>
              <a:ext cx="669955" cy="394092"/>
              <a:chOff x="558082" y="1457427"/>
              <a:chExt cx="503347" cy="296087"/>
            </a:xfrm>
          </p:grpSpPr>
          <p:sp>
            <p:nvSpPr>
              <p:cNvPr id="356" name="Rectangle 355">
                <a:extLst>
                  <a:ext uri="{FF2B5EF4-FFF2-40B4-BE49-F238E27FC236}">
                    <a16:creationId xmlns:a16="http://schemas.microsoft.com/office/drawing/2014/main" id="{5CC30513-657D-0BA3-730B-19257FB608E6}"/>
                  </a:ext>
                </a:extLst>
              </p:cNvPr>
              <p:cNvSpPr/>
              <p:nvPr/>
            </p:nvSpPr>
            <p:spPr>
              <a:xfrm>
                <a:off x="558082" y="1457427"/>
                <a:ext cx="503347" cy="296086"/>
              </a:xfrm>
              <a:prstGeom prst="rect">
                <a:avLst/>
              </a:prstGeom>
              <a:solidFill>
                <a:srgbClr val="A6A6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FI" sz="8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pic>
            <p:nvPicPr>
              <p:cNvPr id="357" name="Picture 356">
                <a:extLst>
                  <a:ext uri="{FF2B5EF4-FFF2-40B4-BE49-F238E27FC236}">
                    <a16:creationId xmlns:a16="http://schemas.microsoft.com/office/drawing/2014/main" id="{76DB41E8-53B2-C288-CF26-5A054087BD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8082" y="1457428"/>
                <a:ext cx="503347" cy="296086"/>
              </a:xfrm>
              <a:prstGeom prst="rect">
                <a:avLst/>
              </a:prstGeom>
              <a:solidFill>
                <a:schemeClr val="bg1"/>
              </a:solidFill>
            </p:spPr>
          </p:pic>
        </p:grp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F2ECF8D6-4BA5-B5EF-C896-9F3E0C6DB4A3}"/>
                </a:ext>
              </a:extLst>
            </p:cNvPr>
            <p:cNvCxnSpPr>
              <a:cxnSpLocks/>
            </p:cNvCxnSpPr>
            <p:nvPr/>
          </p:nvCxnSpPr>
          <p:spPr>
            <a:xfrm>
              <a:off x="1005293" y="1256973"/>
              <a:ext cx="0" cy="2946714"/>
            </a:xfrm>
            <a:prstGeom prst="line">
              <a:avLst/>
            </a:pr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</p:cxnSp>
        <p:pic>
          <p:nvPicPr>
            <p:cNvPr id="359" name="Picture 358">
              <a:extLst>
                <a:ext uri="{FF2B5EF4-FFF2-40B4-BE49-F238E27FC236}">
                  <a16:creationId xmlns:a16="http://schemas.microsoft.com/office/drawing/2014/main" id="{A3569696-5DA2-A6EA-72E8-44A3A9A657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441" b="-1"/>
            <a:stretch/>
          </p:blipFill>
          <p:spPr>
            <a:xfrm>
              <a:off x="1005293" y="1230782"/>
              <a:ext cx="960054" cy="797083"/>
            </a:xfrm>
            <a:prstGeom prst="rect">
              <a:avLst/>
            </a:prstGeom>
          </p:spPr>
        </p:pic>
        <p:sp>
          <p:nvSpPr>
            <p:cNvPr id="360" name="TextBox 359">
              <a:extLst>
                <a:ext uri="{FF2B5EF4-FFF2-40B4-BE49-F238E27FC236}">
                  <a16:creationId xmlns:a16="http://schemas.microsoft.com/office/drawing/2014/main" id="{F483FECB-4789-57B0-BB86-F6AEFCB911BE}"/>
                </a:ext>
              </a:extLst>
            </p:cNvPr>
            <p:cNvSpPr txBox="1"/>
            <p:nvPr/>
          </p:nvSpPr>
          <p:spPr>
            <a:xfrm>
              <a:off x="1054065" y="2060189"/>
              <a:ext cx="930041" cy="41414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Establishment of Nokia Research in Cambridge, UK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(collaboration with University of Cambridge)</a:t>
              </a:r>
            </a:p>
          </p:txBody>
        </p:sp>
        <p:pic>
          <p:nvPicPr>
            <p:cNvPr id="361" name="Picture 953">
              <a:extLst>
                <a:ext uri="{FF2B5EF4-FFF2-40B4-BE49-F238E27FC236}">
                  <a16:creationId xmlns:a16="http://schemas.microsoft.com/office/drawing/2014/main" id="{5ED1D4F9-B300-3D9F-F5E0-4892DAF558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5783" y="2892917"/>
              <a:ext cx="601938" cy="816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506BCCA8-7D66-402E-4C48-8CAD1DBAD459}"/>
                </a:ext>
              </a:extLst>
            </p:cNvPr>
            <p:cNvCxnSpPr>
              <a:cxnSpLocks/>
            </p:cNvCxnSpPr>
            <p:nvPr/>
          </p:nvCxnSpPr>
          <p:spPr>
            <a:xfrm>
              <a:off x="1415783" y="2892917"/>
              <a:ext cx="0" cy="1333639"/>
            </a:xfrm>
            <a:prstGeom prst="line">
              <a:avLst/>
            </a:pr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</p:cxnSp>
        <p:sp>
          <p:nvSpPr>
            <p:cNvPr id="363" name="TextBox 362">
              <a:extLst>
                <a:ext uri="{FF2B5EF4-FFF2-40B4-BE49-F238E27FC236}">
                  <a16:creationId xmlns:a16="http://schemas.microsoft.com/office/drawing/2014/main" id="{88867A9C-EE97-360C-1074-C207F8BF4334}"/>
                </a:ext>
              </a:extLst>
            </p:cNvPr>
            <p:cNvSpPr txBox="1"/>
            <p:nvPr/>
          </p:nvSpPr>
          <p:spPr>
            <a:xfrm>
              <a:off x="1452493" y="3731341"/>
              <a:ext cx="742892" cy="41414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fi-FI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700" b="0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Montserrat" panose="00000500000000000000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Morph concept published in MOMA, NY</a:t>
              </a:r>
            </a:p>
          </p:txBody>
        </p:sp>
        <p:cxnSp>
          <p:nvCxnSpPr>
            <p:cNvPr id="364" name="Straight Connector 363">
              <a:extLst>
                <a:ext uri="{FF2B5EF4-FFF2-40B4-BE49-F238E27FC236}">
                  <a16:creationId xmlns:a16="http://schemas.microsoft.com/office/drawing/2014/main" id="{33C416AA-D2FD-4200-AC7D-982EF77475AB}"/>
                </a:ext>
              </a:extLst>
            </p:cNvPr>
            <p:cNvCxnSpPr>
              <a:cxnSpLocks/>
              <a:stCxn id="366" idx="1"/>
            </p:cNvCxnSpPr>
            <p:nvPr/>
          </p:nvCxnSpPr>
          <p:spPr>
            <a:xfrm>
              <a:off x="2334820" y="1562155"/>
              <a:ext cx="0" cy="2664401"/>
            </a:xfrm>
            <a:prstGeom prst="line">
              <a:avLst/>
            </a:pr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</p:cxnSp>
        <p:sp>
          <p:nvSpPr>
            <p:cNvPr id="365" name="TextBox 364">
              <a:extLst>
                <a:ext uri="{FF2B5EF4-FFF2-40B4-BE49-F238E27FC236}">
                  <a16:creationId xmlns:a16="http://schemas.microsoft.com/office/drawing/2014/main" id="{7812B0BD-230F-891E-C940-741D400A7D9C}"/>
                </a:ext>
              </a:extLst>
            </p:cNvPr>
            <p:cNvSpPr txBox="1"/>
            <p:nvPr/>
          </p:nvSpPr>
          <p:spPr>
            <a:xfrm>
              <a:off x="2382617" y="2153845"/>
              <a:ext cx="936570" cy="41414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Team’s vision on nanotechnologies and their impact on electronics and photonics products published</a:t>
              </a:r>
            </a:p>
          </p:txBody>
        </p:sp>
        <p:pic>
          <p:nvPicPr>
            <p:cNvPr id="366" name="Picture 1482">
              <a:extLst>
                <a:ext uri="{FF2B5EF4-FFF2-40B4-BE49-F238E27FC236}">
                  <a16:creationId xmlns:a16="http://schemas.microsoft.com/office/drawing/2014/main" id="{2B5FFAB7-CEFA-0640-CCBC-B6976E7662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34820" y="1020636"/>
              <a:ext cx="837349" cy="1083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7" name="TextBox 366">
              <a:extLst>
                <a:ext uri="{FF2B5EF4-FFF2-40B4-BE49-F238E27FC236}">
                  <a16:creationId xmlns:a16="http://schemas.microsoft.com/office/drawing/2014/main" id="{9BE08500-5E39-5D14-A180-E74FB725CC3B}"/>
                </a:ext>
              </a:extLst>
            </p:cNvPr>
            <p:cNvSpPr txBox="1"/>
            <p:nvPr/>
          </p:nvSpPr>
          <p:spPr>
            <a:xfrm>
              <a:off x="166027" y="3018147"/>
              <a:ext cx="736949" cy="414141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First graphene electronics project with Aalto University</a:t>
              </a:r>
            </a:p>
          </p:txBody>
        </p:sp>
        <p:grpSp>
          <p:nvGrpSpPr>
            <p:cNvPr id="368" name="Group 367">
              <a:extLst>
                <a:ext uri="{FF2B5EF4-FFF2-40B4-BE49-F238E27FC236}">
                  <a16:creationId xmlns:a16="http://schemas.microsoft.com/office/drawing/2014/main" id="{36C2469C-BB80-E549-C722-4FCA62A32C73}"/>
                </a:ext>
              </a:extLst>
            </p:cNvPr>
            <p:cNvGrpSpPr/>
            <p:nvPr/>
          </p:nvGrpSpPr>
          <p:grpSpPr>
            <a:xfrm>
              <a:off x="614922" y="3812608"/>
              <a:ext cx="281713" cy="231913"/>
              <a:chOff x="-464068" y="3049974"/>
              <a:chExt cx="211655" cy="174240"/>
            </a:xfrm>
          </p:grpSpPr>
          <p:sp>
            <p:nvSpPr>
              <p:cNvPr id="369" name="Rectangle 368">
                <a:extLst>
                  <a:ext uri="{FF2B5EF4-FFF2-40B4-BE49-F238E27FC236}">
                    <a16:creationId xmlns:a16="http://schemas.microsoft.com/office/drawing/2014/main" id="{850D4157-DB1D-2E43-982F-56E1DCAD3D30}"/>
                  </a:ext>
                </a:extLst>
              </p:cNvPr>
              <p:cNvSpPr/>
              <p:nvPr/>
            </p:nvSpPr>
            <p:spPr>
              <a:xfrm>
                <a:off x="-464068" y="3049974"/>
                <a:ext cx="211655" cy="174240"/>
              </a:xfrm>
              <a:prstGeom prst="rect">
                <a:avLst/>
              </a:prstGeom>
              <a:solidFill>
                <a:schemeClr val="bg1"/>
              </a:solidFill>
              <a:ln w="63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pic>
            <p:nvPicPr>
              <p:cNvPr id="370" name="Picture 2" descr="Image result for aalto university">
                <a:extLst>
                  <a:ext uri="{FF2B5EF4-FFF2-40B4-BE49-F238E27FC236}">
                    <a16:creationId xmlns:a16="http://schemas.microsoft.com/office/drawing/2014/main" id="{40CAA681-F593-B6A7-0DF0-CD68AFC5DA8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54939" y="3057116"/>
                <a:ext cx="195288" cy="1627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66E81D9E-34D0-91FD-67DD-453E7C2A8E67}"/>
                </a:ext>
              </a:extLst>
            </p:cNvPr>
            <p:cNvGrpSpPr/>
            <p:nvPr/>
          </p:nvGrpSpPr>
          <p:grpSpPr>
            <a:xfrm>
              <a:off x="2526423" y="3174682"/>
              <a:ext cx="1175282" cy="342301"/>
              <a:chOff x="6445671" y="3437100"/>
              <a:chExt cx="883007" cy="257176"/>
            </a:xfrm>
          </p:grpSpPr>
          <p:sp>
            <p:nvSpPr>
              <p:cNvPr id="372" name="Hexagon 371">
                <a:extLst>
                  <a:ext uri="{FF2B5EF4-FFF2-40B4-BE49-F238E27FC236}">
                    <a16:creationId xmlns:a16="http://schemas.microsoft.com/office/drawing/2014/main" id="{7EF04A71-D0C9-931B-A299-88B1E8208358}"/>
                  </a:ext>
                </a:extLst>
              </p:cNvPr>
              <p:cNvSpPr/>
              <p:nvPr/>
            </p:nvSpPr>
            <p:spPr>
              <a:xfrm>
                <a:off x="6445671" y="3437100"/>
                <a:ext cx="883007" cy="257176"/>
              </a:xfrm>
              <a:prstGeom prst="hexagon">
                <a:avLst>
                  <a:gd name="adj" fmla="val 0"/>
                  <a:gd name="vf" fmla="val 115470"/>
                </a:avLst>
              </a:prstGeom>
              <a:solidFill>
                <a:schemeClr val="bg1"/>
              </a:solidFill>
              <a:ln w="63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pic>
            <p:nvPicPr>
              <p:cNvPr id="373" name="Picture 16" descr="Press Room | Graphene Flagship">
                <a:extLst>
                  <a:ext uri="{FF2B5EF4-FFF2-40B4-BE49-F238E27FC236}">
                    <a16:creationId xmlns:a16="http://schemas.microsoft.com/office/drawing/2014/main" id="{B25C48FD-67C5-CB1C-4977-C8EB68DEF5F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90391" y="3467582"/>
                <a:ext cx="767615" cy="2133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374" name="Straight Connector 373">
              <a:extLst>
                <a:ext uri="{FF2B5EF4-FFF2-40B4-BE49-F238E27FC236}">
                  <a16:creationId xmlns:a16="http://schemas.microsoft.com/office/drawing/2014/main" id="{37E9628B-1B85-33F7-B278-6BE1497AD578}"/>
                </a:ext>
              </a:extLst>
            </p:cNvPr>
            <p:cNvCxnSpPr>
              <a:cxnSpLocks/>
            </p:cNvCxnSpPr>
            <p:nvPr/>
          </p:nvCxnSpPr>
          <p:spPr>
            <a:xfrm>
              <a:off x="3670015" y="3212527"/>
              <a:ext cx="0" cy="1025629"/>
            </a:xfrm>
            <a:prstGeom prst="line">
              <a:avLst/>
            </a:pr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</p:cxnSp>
        <p:sp>
          <p:nvSpPr>
            <p:cNvPr id="375" name="TextBox 374">
              <a:extLst>
                <a:ext uri="{FF2B5EF4-FFF2-40B4-BE49-F238E27FC236}">
                  <a16:creationId xmlns:a16="http://schemas.microsoft.com/office/drawing/2014/main" id="{44A253F6-69BA-A329-4682-1A50C02FCAEB}"/>
                </a:ext>
              </a:extLst>
            </p:cNvPr>
            <p:cNvSpPr txBox="1"/>
            <p:nvPr/>
          </p:nvSpPr>
          <p:spPr>
            <a:xfrm>
              <a:off x="2577309" y="3591472"/>
              <a:ext cx="1081217" cy="41414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Team in a leading role in establishing EU FET GF project (the largest EU research project)</a:t>
              </a:r>
            </a:p>
          </p:txBody>
        </p: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F4FAB5D6-9E40-23BE-A9CD-917A1B3507DC}"/>
                </a:ext>
              </a:extLst>
            </p:cNvPr>
            <p:cNvCxnSpPr>
              <a:cxnSpLocks/>
            </p:cNvCxnSpPr>
            <p:nvPr/>
          </p:nvCxnSpPr>
          <p:spPr>
            <a:xfrm>
              <a:off x="4137673" y="2453601"/>
              <a:ext cx="0" cy="1772955"/>
            </a:xfrm>
            <a:prstGeom prst="line">
              <a:avLst/>
            </a:pr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</p:cxn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A0279354-FE98-AC76-9569-DEE4E6A1A28E}"/>
                </a:ext>
              </a:extLst>
            </p:cNvPr>
            <p:cNvSpPr txBox="1"/>
            <p:nvPr/>
          </p:nvSpPr>
          <p:spPr>
            <a:xfrm>
              <a:off x="4200049" y="3090020"/>
              <a:ext cx="911763" cy="101295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Sensor systems business incubation program at Nokia; Initial focus on photodetector arrays on flexible structures for medical sensors and X-ray imaging</a:t>
              </a:r>
            </a:p>
          </p:txBody>
        </p:sp>
        <p:pic>
          <p:nvPicPr>
            <p:cNvPr id="378" name="Picture 916">
              <a:extLst>
                <a:ext uri="{FF2B5EF4-FFF2-40B4-BE49-F238E27FC236}">
                  <a16:creationId xmlns:a16="http://schemas.microsoft.com/office/drawing/2014/main" id="{15C9F2FC-BA05-1533-8C5D-63AD3F7D30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038" t="3535" r="34397" b="4255"/>
            <a:stretch/>
          </p:blipFill>
          <p:spPr bwMode="auto">
            <a:xfrm>
              <a:off x="4137673" y="2122592"/>
              <a:ext cx="759170" cy="909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79" name="Straight Connector 378">
              <a:extLst>
                <a:ext uri="{FF2B5EF4-FFF2-40B4-BE49-F238E27FC236}">
                  <a16:creationId xmlns:a16="http://schemas.microsoft.com/office/drawing/2014/main" id="{8B375FB8-9CC7-A17A-8FEC-C2B6EA8ED5D3}"/>
                </a:ext>
              </a:extLst>
            </p:cNvPr>
            <p:cNvCxnSpPr>
              <a:cxnSpLocks/>
            </p:cNvCxnSpPr>
            <p:nvPr/>
          </p:nvCxnSpPr>
          <p:spPr>
            <a:xfrm>
              <a:off x="5146102" y="1335456"/>
              <a:ext cx="0" cy="2891100"/>
            </a:xfrm>
            <a:prstGeom prst="line">
              <a:avLst/>
            </a:pr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</p:cxnSp>
        <p:cxnSp>
          <p:nvCxnSpPr>
            <p:cNvPr id="382" name="Straight Connector 381">
              <a:extLst>
                <a:ext uri="{FF2B5EF4-FFF2-40B4-BE49-F238E27FC236}">
                  <a16:creationId xmlns:a16="http://schemas.microsoft.com/office/drawing/2014/main" id="{31298CE8-1984-B58B-6C3B-3818E0F2BBBE}"/>
                </a:ext>
              </a:extLst>
            </p:cNvPr>
            <p:cNvCxnSpPr>
              <a:cxnSpLocks/>
            </p:cNvCxnSpPr>
            <p:nvPr/>
          </p:nvCxnSpPr>
          <p:spPr>
            <a:xfrm>
              <a:off x="7134791" y="1256973"/>
              <a:ext cx="0" cy="3013775"/>
            </a:xfrm>
            <a:prstGeom prst="line">
              <a:avLst/>
            </a:pr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</p:cxnSp>
        <p:sp>
          <p:nvSpPr>
            <p:cNvPr id="385" name="TextBox 384">
              <a:extLst>
                <a:ext uri="{FF2B5EF4-FFF2-40B4-BE49-F238E27FC236}">
                  <a16:creationId xmlns:a16="http://schemas.microsoft.com/office/drawing/2014/main" id="{2431BF52-2456-A833-EB5A-65EBE86A545E}"/>
                </a:ext>
              </a:extLst>
            </p:cNvPr>
            <p:cNvSpPr txBox="1"/>
            <p:nvPr/>
          </p:nvSpPr>
          <p:spPr>
            <a:xfrm>
              <a:off x="5768177" y="3819669"/>
              <a:ext cx="690360" cy="41414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Low-noise </a:t>
              </a:r>
              <a:b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</a:b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vis-SWIR photodetector</a:t>
              </a:r>
            </a:p>
          </p:txBody>
        </p:sp>
        <p:cxnSp>
          <p:nvCxnSpPr>
            <p:cNvPr id="380" name="Straight Connector 379">
              <a:extLst>
                <a:ext uri="{FF2B5EF4-FFF2-40B4-BE49-F238E27FC236}">
                  <a16:creationId xmlns:a16="http://schemas.microsoft.com/office/drawing/2014/main" id="{0E54E806-C109-C956-2510-5F920B856716}"/>
                </a:ext>
              </a:extLst>
            </p:cNvPr>
            <p:cNvCxnSpPr>
              <a:cxnSpLocks/>
            </p:cNvCxnSpPr>
            <p:nvPr/>
          </p:nvCxnSpPr>
          <p:spPr>
            <a:xfrm>
              <a:off x="5727525" y="3358167"/>
              <a:ext cx="0" cy="868389"/>
            </a:xfrm>
            <a:prstGeom prst="line">
              <a:avLst/>
            </a:pr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</p:cxnSp>
        <p:cxnSp>
          <p:nvCxnSpPr>
            <p:cNvPr id="381" name="Straight Connector 380">
              <a:extLst>
                <a:ext uri="{FF2B5EF4-FFF2-40B4-BE49-F238E27FC236}">
                  <a16:creationId xmlns:a16="http://schemas.microsoft.com/office/drawing/2014/main" id="{B1B290E6-3E2C-06BA-624F-7E532EE37202}"/>
                </a:ext>
              </a:extLst>
            </p:cNvPr>
            <p:cNvCxnSpPr>
              <a:cxnSpLocks/>
            </p:cNvCxnSpPr>
            <p:nvPr/>
          </p:nvCxnSpPr>
          <p:spPr>
            <a:xfrm>
              <a:off x="6632693" y="2287576"/>
              <a:ext cx="0" cy="1938980"/>
            </a:xfrm>
            <a:prstGeom prst="line">
              <a:avLst/>
            </a:prstGeom>
            <a:solidFill>
              <a:schemeClr val="bg1"/>
            </a:solidFill>
            <a:ln w="4763" cap="flat">
              <a:solidFill>
                <a:srgbClr val="BF0000"/>
              </a:solidFill>
              <a:prstDash val="solid"/>
              <a:miter lim="800000"/>
              <a:headEnd/>
              <a:tailEnd/>
            </a:ln>
          </p:spPr>
        </p:cxnSp>
        <p:pic>
          <p:nvPicPr>
            <p:cNvPr id="384" name="Picture 1151">
              <a:extLst>
                <a:ext uri="{FF2B5EF4-FFF2-40B4-BE49-F238E27FC236}">
                  <a16:creationId xmlns:a16="http://schemas.microsoft.com/office/drawing/2014/main" id="{DB95E6DA-617F-5617-E9E7-4F0D76E566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6993" y="2287576"/>
              <a:ext cx="925700" cy="600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6" name="TextBox 385">
              <a:extLst>
                <a:ext uri="{FF2B5EF4-FFF2-40B4-BE49-F238E27FC236}">
                  <a16:creationId xmlns:a16="http://schemas.microsoft.com/office/drawing/2014/main" id="{2396DF99-1EFF-F4AA-462B-ABA8A23DFAD0}"/>
                </a:ext>
              </a:extLst>
            </p:cNvPr>
            <p:cNvSpPr txBox="1"/>
            <p:nvPr/>
          </p:nvSpPr>
          <p:spPr>
            <a:xfrm>
              <a:off x="5761179" y="2920711"/>
              <a:ext cx="833683" cy="41414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512-pixel linear array image sensor</a:t>
              </a:r>
            </a:p>
          </p:txBody>
        </p:sp>
        <p:sp>
          <p:nvSpPr>
            <p:cNvPr id="387" name="TextBox 386">
              <a:extLst>
                <a:ext uri="{FF2B5EF4-FFF2-40B4-BE49-F238E27FC236}">
                  <a16:creationId xmlns:a16="http://schemas.microsoft.com/office/drawing/2014/main" id="{5E26CCBB-0653-093A-103A-758135CC81D8}"/>
                </a:ext>
              </a:extLst>
            </p:cNvPr>
            <p:cNvSpPr txBox="1"/>
            <p:nvPr/>
          </p:nvSpPr>
          <p:spPr>
            <a:xfrm>
              <a:off x="5799596" y="1875302"/>
              <a:ext cx="1280773" cy="41414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Low volume manufacturing capabilities in Cambridge and Espoo established</a:t>
              </a:r>
            </a:p>
          </p:txBody>
        </p:sp>
        <p:pic>
          <p:nvPicPr>
            <p:cNvPr id="388" name="Picture 387">
              <a:extLst>
                <a:ext uri="{FF2B5EF4-FFF2-40B4-BE49-F238E27FC236}">
                  <a16:creationId xmlns:a16="http://schemas.microsoft.com/office/drawing/2014/main" id="{5ECB9965-7B0B-EFBF-D902-1E8F4D3292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07040" y="1257730"/>
              <a:ext cx="1227751" cy="597768"/>
            </a:xfrm>
            <a:prstGeom prst="rect">
              <a:avLst/>
            </a:prstGeom>
          </p:spPr>
        </p:pic>
        <p:pic>
          <p:nvPicPr>
            <p:cNvPr id="389" name="Picture 388">
              <a:extLst>
                <a:ext uri="{FF2B5EF4-FFF2-40B4-BE49-F238E27FC236}">
                  <a16:creationId xmlns:a16="http://schemas.microsoft.com/office/drawing/2014/main" id="{46AA73A3-C01F-5721-C9A7-1B55358433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01300" y="3197193"/>
              <a:ext cx="651444" cy="586799"/>
            </a:xfrm>
            <a:prstGeom prst="rect">
              <a:avLst/>
            </a:prstGeom>
          </p:spPr>
        </p:pic>
        <p:sp>
          <p:nvSpPr>
            <p:cNvPr id="390" name="Oval 389">
              <a:extLst>
                <a:ext uri="{FF2B5EF4-FFF2-40B4-BE49-F238E27FC236}">
                  <a16:creationId xmlns:a16="http://schemas.microsoft.com/office/drawing/2014/main" id="{058B31F1-6B6B-249D-7BA5-42DA3F59CBEE}"/>
                </a:ext>
              </a:extLst>
            </p:cNvPr>
            <p:cNvSpPr/>
            <p:nvPr/>
          </p:nvSpPr>
          <p:spPr>
            <a:xfrm>
              <a:off x="4500801" y="770503"/>
              <a:ext cx="1290602" cy="1290602"/>
            </a:xfrm>
            <a:prstGeom prst="ellipse">
              <a:avLst/>
            </a:prstGeom>
            <a:solidFill>
              <a:srgbClr val="FF8000"/>
            </a:solidFill>
            <a:ln w="6350">
              <a:noFill/>
            </a:ln>
            <a:effectLst>
              <a:outerShdw blurRad="38100" dist="25400" dir="2700000" algn="tl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391" name="TextBox 390">
              <a:extLst>
                <a:ext uri="{FF2B5EF4-FFF2-40B4-BE49-F238E27FC236}">
                  <a16:creationId xmlns:a16="http://schemas.microsoft.com/office/drawing/2014/main" id="{4ED88FA1-2DC2-3922-20A2-C9089511940F}"/>
                </a:ext>
              </a:extLst>
            </p:cNvPr>
            <p:cNvSpPr txBox="1"/>
            <p:nvPr/>
          </p:nvSpPr>
          <p:spPr>
            <a:xfrm>
              <a:off x="4669161" y="1446575"/>
              <a:ext cx="953883" cy="29116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Spin-off from Noki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co-founded by employees and Verso Capital</a:t>
              </a:r>
              <a:r>
                <a:rPr kumimoji="0" lang="en-US" sz="7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1)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pic>
          <p:nvPicPr>
            <p:cNvPr id="392" name="Picture 2" descr="Portfolio company: Emberion Oy - tesi.fi">
              <a:extLst>
                <a:ext uri="{FF2B5EF4-FFF2-40B4-BE49-F238E27FC236}">
                  <a16:creationId xmlns:a16="http://schemas.microsoft.com/office/drawing/2014/main" id="{D78EA622-E24C-807B-E149-5C595C76BBA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945" b="33901"/>
            <a:stretch/>
          </p:blipFill>
          <p:spPr bwMode="auto">
            <a:xfrm>
              <a:off x="4733722" y="1107630"/>
              <a:ext cx="824761" cy="1576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3" name="Rectangle: Rounded Corners 392">
              <a:extLst>
                <a:ext uri="{FF2B5EF4-FFF2-40B4-BE49-F238E27FC236}">
                  <a16:creationId xmlns:a16="http://schemas.microsoft.com/office/drawing/2014/main" id="{563AC26D-2B30-1F96-A396-3FC8E2ACCA5A}"/>
                </a:ext>
              </a:extLst>
            </p:cNvPr>
            <p:cNvSpPr/>
            <p:nvPr/>
          </p:nvSpPr>
          <p:spPr>
            <a:xfrm>
              <a:off x="7251573" y="1145191"/>
              <a:ext cx="1420216" cy="531050"/>
            </a:xfrm>
            <a:prstGeom prst="roundRect">
              <a:avLst>
                <a:gd name="adj" fmla="val 5994"/>
              </a:avLst>
            </a:prstGeom>
            <a:solidFill>
              <a:srgbClr val="FF8000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394" name="TextBox 393">
              <a:extLst>
                <a:ext uri="{FF2B5EF4-FFF2-40B4-BE49-F238E27FC236}">
                  <a16:creationId xmlns:a16="http://schemas.microsoft.com/office/drawing/2014/main" id="{16A80604-3FC8-4058-BFD6-724D778DC0C7}"/>
                </a:ext>
              </a:extLst>
            </p:cNvPr>
            <p:cNvSpPr txBox="1"/>
            <p:nvPr/>
          </p:nvSpPr>
          <p:spPr>
            <a:xfrm>
              <a:off x="7338122" y="1403284"/>
              <a:ext cx="1257123" cy="2125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Sales begin for Emberion VS20 VGA industrial camera</a:t>
              </a:r>
            </a:p>
          </p:txBody>
        </p:sp>
        <p:pic>
          <p:nvPicPr>
            <p:cNvPr id="395" name="Picture 6">
              <a:extLst>
                <a:ext uri="{FF2B5EF4-FFF2-40B4-BE49-F238E27FC236}">
                  <a16:creationId xmlns:a16="http://schemas.microsoft.com/office/drawing/2014/main" id="{90DFFEFD-F15F-8791-A7D5-4F79F66BD70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 cstate="print">
              <a:clrChange>
                <a:clrFrom>
                  <a:srgbClr val="0E0402"/>
                </a:clrFrom>
                <a:clrTo>
                  <a:srgbClr val="0E0402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ackgroundRemoval t="10000" b="90000" l="10000" r="90000">
                          <a14:foregroundMark x1="51600" y1="36514" x2="54250" y2="43670"/>
                          <a14:foregroundMark x1="53300" y1="35046" x2="50050" y2="34495"/>
                          <a14:foregroundMark x1="50650" y1="29174" x2="50250" y2="38716"/>
                          <a14:foregroundMark x1="50600" y1="39266" x2="52450" y2="66606"/>
                          <a14:foregroundMark x1="51350" y1="72844" x2="52100" y2="80183"/>
                          <a14:foregroundMark x1="50200" y1="79083" x2="52750" y2="82018"/>
                          <a14:foregroundMark x1="51550" y1="79450" x2="53650" y2="79817"/>
                          <a14:foregroundMark x1="52850" y1="78899" x2="54000" y2="78716"/>
                          <a14:foregroundMark x1="54000" y1="80000" x2="54200" y2="81835"/>
                          <a14:foregroundMark x1="53700" y1="87890" x2="51550" y2="89358"/>
                          <a14:foregroundMark x1="45650" y1="53578" x2="46400" y2="70459"/>
                          <a14:foregroundMark x1="45100" y1="57431" x2="45850" y2="68257"/>
                          <a14:foregroundMark x1="45100" y1="64037" x2="45650" y2="6789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821" t="15330" r="21926" b="6616"/>
            <a:stretch/>
          </p:blipFill>
          <p:spPr bwMode="auto">
            <a:xfrm>
              <a:off x="7498637" y="824601"/>
              <a:ext cx="926088" cy="558890"/>
            </a:xfrm>
            <a:prstGeom prst="rect">
              <a:avLst/>
            </a:prstGeom>
            <a:noFill/>
            <a:effectLst>
              <a:outerShdw blurRad="38100" dist="25400" dir="2700000" algn="tl" rotWithShape="0">
                <a:prstClr val="black">
                  <a:alpha val="25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291DAF7-3639-A824-9217-1589B4C56A7B}"/>
                </a:ext>
              </a:extLst>
            </p:cNvPr>
            <p:cNvGrpSpPr/>
            <p:nvPr/>
          </p:nvGrpSpPr>
          <p:grpSpPr>
            <a:xfrm>
              <a:off x="82067" y="4177459"/>
              <a:ext cx="8935625" cy="272869"/>
              <a:chOff x="162958" y="4278143"/>
              <a:chExt cx="9595406" cy="272869"/>
            </a:xfrm>
          </p:grpSpPr>
          <p:sp>
            <p:nvSpPr>
              <p:cNvPr id="313" name="Freeform 7">
                <a:extLst>
                  <a:ext uri="{FF2B5EF4-FFF2-40B4-BE49-F238E27FC236}">
                    <a16:creationId xmlns:a16="http://schemas.microsoft.com/office/drawing/2014/main" id="{C3009C4B-D6FA-30A1-D3B0-89F5128033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046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30" name="Freeform 7">
                <a:extLst>
                  <a:ext uri="{FF2B5EF4-FFF2-40B4-BE49-F238E27FC236}">
                    <a16:creationId xmlns:a16="http://schemas.microsoft.com/office/drawing/2014/main" id="{44553939-434F-6F7B-D9E1-67CD2A1D6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6033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31" name="Freeform 7">
                <a:extLst>
                  <a:ext uri="{FF2B5EF4-FFF2-40B4-BE49-F238E27FC236}">
                    <a16:creationId xmlns:a16="http://schemas.microsoft.com/office/drawing/2014/main" id="{113CFE6B-6FF0-8736-F233-9461BDEE9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2020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32" name="Freeform 7">
                <a:extLst>
                  <a:ext uri="{FF2B5EF4-FFF2-40B4-BE49-F238E27FC236}">
                    <a16:creationId xmlns:a16="http://schemas.microsoft.com/office/drawing/2014/main" id="{D6DBD8CB-2423-A5E6-0617-6A3F36277B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8007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33" name="Freeform 7">
                <a:extLst>
                  <a:ext uri="{FF2B5EF4-FFF2-40B4-BE49-F238E27FC236}">
                    <a16:creationId xmlns:a16="http://schemas.microsoft.com/office/drawing/2014/main" id="{C6BC2E23-37CE-7036-6757-A173C0775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3994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34" name="Freeform 7">
                <a:extLst>
                  <a:ext uri="{FF2B5EF4-FFF2-40B4-BE49-F238E27FC236}">
                    <a16:creationId xmlns:a16="http://schemas.microsoft.com/office/drawing/2014/main" id="{E72A70F1-1F3E-13A2-E84E-20E3D70D8F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9981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35" name="Freeform 7">
                <a:extLst>
                  <a:ext uri="{FF2B5EF4-FFF2-40B4-BE49-F238E27FC236}">
                    <a16:creationId xmlns:a16="http://schemas.microsoft.com/office/drawing/2014/main" id="{9D0D3A0C-9ED1-AD00-B7B2-CD13B8DF4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5968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36" name="Freeform 7">
                <a:extLst>
                  <a:ext uri="{FF2B5EF4-FFF2-40B4-BE49-F238E27FC236}">
                    <a16:creationId xmlns:a16="http://schemas.microsoft.com/office/drawing/2014/main" id="{4DC68BC5-3822-BE69-A570-A8A2C9003B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1955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37" name="Freeform 7">
                <a:extLst>
                  <a:ext uri="{FF2B5EF4-FFF2-40B4-BE49-F238E27FC236}">
                    <a16:creationId xmlns:a16="http://schemas.microsoft.com/office/drawing/2014/main" id="{196E5D80-0D6C-06D8-8678-154851DA33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7942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38" name="Freeform 7">
                <a:extLst>
                  <a:ext uri="{FF2B5EF4-FFF2-40B4-BE49-F238E27FC236}">
                    <a16:creationId xmlns:a16="http://schemas.microsoft.com/office/drawing/2014/main" id="{2F302D97-FD19-0B34-8FA2-C1643964CD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929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39" name="Freeform 7">
                <a:extLst>
                  <a:ext uri="{FF2B5EF4-FFF2-40B4-BE49-F238E27FC236}">
                    <a16:creationId xmlns:a16="http://schemas.microsoft.com/office/drawing/2014/main" id="{8F68EC92-0064-DA6F-5179-C8D70015A1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9916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40" name="Freeform 7">
                <a:extLst>
                  <a:ext uri="{FF2B5EF4-FFF2-40B4-BE49-F238E27FC236}">
                    <a16:creationId xmlns:a16="http://schemas.microsoft.com/office/drawing/2014/main" id="{6A3578A2-CD68-2D29-3679-71556A6497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5903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41" name="Freeform 7">
                <a:extLst>
                  <a:ext uri="{FF2B5EF4-FFF2-40B4-BE49-F238E27FC236}">
                    <a16:creationId xmlns:a16="http://schemas.microsoft.com/office/drawing/2014/main" id="{F6E1EB95-37D1-6A2D-E735-B2E28254A7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1890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42" name="Freeform 7">
                <a:extLst>
                  <a:ext uri="{FF2B5EF4-FFF2-40B4-BE49-F238E27FC236}">
                    <a16:creationId xmlns:a16="http://schemas.microsoft.com/office/drawing/2014/main" id="{340B37C7-755F-A5A6-CF02-B686E6905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37878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43" name="Freeform 7">
                <a:extLst>
                  <a:ext uri="{FF2B5EF4-FFF2-40B4-BE49-F238E27FC236}">
                    <a16:creationId xmlns:a16="http://schemas.microsoft.com/office/drawing/2014/main" id="{543854CB-56A0-A9E7-5AE2-A8D5E46615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43864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51" name="Freeform 7">
                <a:extLst>
                  <a:ext uri="{FF2B5EF4-FFF2-40B4-BE49-F238E27FC236}">
                    <a16:creationId xmlns:a16="http://schemas.microsoft.com/office/drawing/2014/main" id="{FE973DE7-AAC5-9D48-BB10-819F975A6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9850" y="4374291"/>
                <a:ext cx="0" cy="176721"/>
              </a:xfrm>
              <a:custGeom>
                <a:avLst/>
                <a:gdLst>
                  <a:gd name="T0" fmla="*/ 0 w 1"/>
                  <a:gd name="T1" fmla="*/ 0 h 199"/>
                  <a:gd name="T2" fmla="*/ 0 w 1"/>
                  <a:gd name="T3" fmla="*/ 0 h 199"/>
                  <a:gd name="T4" fmla="*/ 1 w 1"/>
                  <a:gd name="T5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99">
                    <a:moveTo>
                      <a:pt x="0" y="0"/>
                    </a:moveTo>
                    <a:lnTo>
                      <a:pt x="0" y="0"/>
                    </a:lnTo>
                    <a:lnTo>
                      <a:pt x="1" y="199"/>
                    </a:lnTo>
                  </a:path>
                </a:pathLst>
              </a:custGeom>
              <a:solidFill>
                <a:schemeClr val="bg1"/>
              </a:solidFill>
              <a:ln w="4763" cap="flat">
                <a:solidFill>
                  <a:srgbClr val="BF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52" name="Arrow: Right 351">
                <a:extLst>
                  <a:ext uri="{FF2B5EF4-FFF2-40B4-BE49-F238E27FC236}">
                    <a16:creationId xmlns:a16="http://schemas.microsoft.com/office/drawing/2014/main" id="{DAFA9732-FFF2-0CA3-84D9-7D81FB6B42AE}"/>
                  </a:ext>
                </a:extLst>
              </p:cNvPr>
              <p:cNvSpPr/>
              <p:nvPr/>
            </p:nvSpPr>
            <p:spPr>
              <a:xfrm>
                <a:off x="162958" y="4278143"/>
                <a:ext cx="9595406" cy="179709"/>
              </a:xfrm>
              <a:prstGeom prst="rightArrow">
                <a:avLst>
                  <a:gd name="adj1" fmla="val 39508"/>
                  <a:gd name="adj2" fmla="val 50000"/>
                </a:avLst>
              </a:prstGeom>
              <a:gradFill>
                <a:gsLst>
                  <a:gs pos="0">
                    <a:schemeClr val="bg1"/>
                  </a:gs>
                  <a:gs pos="7300">
                    <a:schemeClr val="bg1"/>
                  </a:gs>
                  <a:gs pos="100000">
                    <a:schemeClr val="accent2"/>
                  </a:gs>
                </a:gsLst>
                <a:lin ang="0" scaled="0"/>
              </a:gradFill>
              <a:ln w="63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endParaRPr>
              </a:p>
            </p:txBody>
          </p:sp>
        </p:grpSp>
        <p:pic>
          <p:nvPicPr>
            <p:cNvPr id="9" name="Picture 2" descr="VTT Technical Research Centre of Finland - e-SI-Amp">
              <a:extLst>
                <a:ext uri="{FF2B5EF4-FFF2-40B4-BE49-F238E27FC236}">
                  <a16:creationId xmlns:a16="http://schemas.microsoft.com/office/drawing/2014/main" id="{7E07E3BC-7F18-C9D0-871D-A018766B08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5670" y="894581"/>
              <a:ext cx="681755" cy="426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2D719F5B-B0F0-A215-016D-056B8D37AF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4068" y="432328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22</a:t>
              </a:r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D40F6FAF-3A01-4313-9B18-FB611E06C2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47834" y="4321330"/>
              <a:ext cx="314189" cy="20482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023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93E8323A-70E7-3C1A-EA49-85F3D1E5F4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92422" y="1865264"/>
              <a:ext cx="693657" cy="611394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B9A52A1-981B-CED4-93C4-6F467EED9BFF}"/>
                </a:ext>
              </a:extLst>
            </p:cNvPr>
            <p:cNvSpPr txBox="1"/>
            <p:nvPr/>
          </p:nvSpPr>
          <p:spPr>
            <a:xfrm>
              <a:off x="7768548" y="2582852"/>
              <a:ext cx="911763" cy="155223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High-speed, SWIR industrial camera:</a:t>
              </a:r>
            </a:p>
            <a:p>
              <a:pPr marL="90488" marR="0" lvl="0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400 fps</a:t>
              </a:r>
            </a:p>
            <a:p>
              <a:pPr marL="90488" marR="0" lvl="0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400-2,000 nm spectral range</a:t>
              </a:r>
            </a:p>
            <a:p>
              <a:pPr marL="90488" marR="0" lvl="0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120 dB DR</a:t>
              </a:r>
            </a:p>
            <a:p>
              <a:pPr marL="90488" marR="0" lvl="0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Based on Emberion’s modular ROIC</a:t>
              </a:r>
            </a:p>
            <a:p>
              <a:pPr marL="90488" marR="0" lvl="0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VGA resolution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73213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108CED8-0323-FE08-3F6C-C8F717AD7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08CED8-0323-FE08-3F6C-C8F717AD7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lide Number Placeholder 1">
            <a:extLst>
              <a:ext uri="{FF2B5EF4-FFF2-40B4-BE49-F238E27FC236}">
                <a16:creationId xmlns:a16="http://schemas.microsoft.com/office/drawing/2014/main" id="{0F488F21-6678-7D46-B1A0-CA958D409B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6149" y="4867177"/>
            <a:ext cx="281555" cy="226317"/>
          </a:xfrm>
          <a:prstGeom prst="rect">
            <a:avLst/>
          </a:prstGeom>
        </p:spPr>
        <p:txBody>
          <a:bodyPr anchor="ctr"/>
          <a:lstStyle>
            <a:lvl1pPr algn="ctr">
              <a:defRPr sz="825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5E552F-9C1E-412F-BFB9-F0B1BD6D0DD5}" type="slidenum"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" panose="000005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i-FI" sz="7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ontserrat" panose="000005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2" name="Title 4">
            <a:extLst>
              <a:ext uri="{FF2B5EF4-FFF2-40B4-BE49-F238E27FC236}">
                <a16:creationId xmlns:a16="http://schemas.microsoft.com/office/drawing/2014/main" id="{3B3F5810-D9B3-3C9D-A128-DA4F18773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762" y="248587"/>
            <a:ext cx="7986395" cy="244873"/>
          </a:xfrm>
        </p:spPr>
        <p:txBody>
          <a:bodyPr vert="horz"/>
          <a:lstStyle/>
          <a:p>
            <a:r>
              <a:rPr lang="en-GB" sz="2000" b="1" dirty="0">
                <a:latin typeface="Montserrat" panose="00000500000000000000" pitchFamily="2" charset="0"/>
              </a:rPr>
              <a:t>Introduction to management 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F9F63440-F49A-991D-83E5-296CDBBE8B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1961" y="493461"/>
            <a:ext cx="7986395" cy="311150"/>
          </a:xfrm>
        </p:spPr>
        <p:txBody>
          <a:bodyPr/>
          <a:lstStyle/>
          <a:p>
            <a:pPr marL="0">
              <a:spcBef>
                <a:spcPts val="0"/>
              </a:spcBef>
            </a:pPr>
            <a:r>
              <a:rPr lang="en-GB" sz="1200" dirty="0">
                <a:latin typeface="Montserrat" panose="00000500000000000000" pitchFamily="2" charset="0"/>
              </a:rPr>
              <a:t>Emberion leadership team represents cutting-edge technology R&amp;D with strong business acume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E75B5CD-0791-C305-999B-48CF53ACFD0E}"/>
              </a:ext>
            </a:extLst>
          </p:cNvPr>
          <p:cNvCxnSpPr>
            <a:cxnSpLocks/>
          </p:cNvCxnSpPr>
          <p:nvPr/>
        </p:nvCxnSpPr>
        <p:spPr>
          <a:xfrm>
            <a:off x="8764793" y="4922313"/>
            <a:ext cx="0" cy="11604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D4B84E5-D33D-CB25-3E45-00FF61197313}"/>
              </a:ext>
            </a:extLst>
          </p:cNvPr>
          <p:cNvGrpSpPr/>
          <p:nvPr/>
        </p:nvGrpSpPr>
        <p:grpSpPr>
          <a:xfrm>
            <a:off x="462704" y="1080210"/>
            <a:ext cx="8452115" cy="3503629"/>
            <a:chOff x="462704" y="1080210"/>
            <a:chExt cx="8452115" cy="3503629"/>
          </a:xfrm>
        </p:grpSpPr>
        <p:sp>
          <p:nvSpPr>
            <p:cNvPr id="11" name="Content Placeholder 13">
              <a:extLst>
                <a:ext uri="{FF2B5EF4-FFF2-40B4-BE49-F238E27FC236}">
                  <a16:creationId xmlns:a16="http://schemas.microsoft.com/office/drawing/2014/main" id="{07672C9F-0CD1-BCD2-4630-FAB1356D6359}"/>
                </a:ext>
              </a:extLst>
            </p:cNvPr>
            <p:cNvSpPr txBox="1">
              <a:spLocks/>
            </p:cNvSpPr>
            <p:nvPr/>
          </p:nvSpPr>
          <p:spPr>
            <a:xfrm>
              <a:off x="492268" y="2132947"/>
              <a:ext cx="879617" cy="302419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apani Ryhänen</a:t>
              </a:r>
              <a:b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</a:b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CEO</a:t>
              </a:r>
            </a:p>
          </p:txBody>
        </p:sp>
        <p:pic>
          <p:nvPicPr>
            <p:cNvPr id="12" name="Picture Placeholder 36">
              <a:extLst>
                <a:ext uri="{FF2B5EF4-FFF2-40B4-BE49-F238E27FC236}">
                  <a16:creationId xmlns:a16="http://schemas.microsoft.com/office/drawing/2014/main" id="{7604A657-9290-F982-0694-6875784B7A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92268" y="1080210"/>
              <a:ext cx="879617" cy="967822"/>
            </a:xfrm>
            <a:prstGeom prst="rect">
              <a:avLst/>
            </a:prstGeom>
          </p:spPr>
        </p:pic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D2AACC34-A5B8-A169-4904-A505252C887D}"/>
                </a:ext>
              </a:extLst>
            </p:cNvPr>
            <p:cNvCxnSpPr>
              <a:cxnSpLocks/>
            </p:cNvCxnSpPr>
            <p:nvPr/>
          </p:nvCxnSpPr>
          <p:spPr>
            <a:xfrm>
              <a:off x="492268" y="2377961"/>
              <a:ext cx="87961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Content Placeholder 13">
              <a:extLst>
                <a:ext uri="{FF2B5EF4-FFF2-40B4-BE49-F238E27FC236}">
                  <a16:creationId xmlns:a16="http://schemas.microsoft.com/office/drawing/2014/main" id="{D5CDE769-155E-02F8-DEAC-16C9E9384D5D}"/>
                </a:ext>
              </a:extLst>
            </p:cNvPr>
            <p:cNvSpPr txBox="1">
              <a:spLocks/>
            </p:cNvSpPr>
            <p:nvPr/>
          </p:nvSpPr>
          <p:spPr>
            <a:xfrm>
              <a:off x="462704" y="2471965"/>
              <a:ext cx="967579" cy="859665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hysicist with 25+ years of experience in R&amp;D leadership</a:t>
              </a:r>
            </a:p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100+ patents granted</a:t>
              </a:r>
            </a:p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Broad network, deep expertise in micro &amp; nanotechnologies</a:t>
              </a:r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8AF342C9-27BA-837F-48D2-B42FE609142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00067" y="1940032"/>
              <a:ext cx="171818" cy="10800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sp>
          <p:nvSpPr>
            <p:cNvPr id="47" name="Content Placeholder 13">
              <a:extLst>
                <a:ext uri="{FF2B5EF4-FFF2-40B4-BE49-F238E27FC236}">
                  <a16:creationId xmlns:a16="http://schemas.microsoft.com/office/drawing/2014/main" id="{6E4BE529-79ED-7788-6507-AE892C97CC6D}"/>
                </a:ext>
              </a:extLst>
            </p:cNvPr>
            <p:cNvSpPr txBox="1">
              <a:spLocks/>
            </p:cNvSpPr>
            <p:nvPr/>
          </p:nvSpPr>
          <p:spPr>
            <a:xfrm>
              <a:off x="1563547" y="2132947"/>
              <a:ext cx="879617" cy="302419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Mark Allen</a:t>
              </a:r>
              <a:b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</a:b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CTO</a:t>
              </a:r>
            </a:p>
          </p:txBody>
        </p: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B1A12E6D-EDD1-5B7E-B813-E54B283B61D0}"/>
                </a:ext>
              </a:extLst>
            </p:cNvPr>
            <p:cNvCxnSpPr>
              <a:cxnSpLocks/>
            </p:cNvCxnSpPr>
            <p:nvPr/>
          </p:nvCxnSpPr>
          <p:spPr>
            <a:xfrm>
              <a:off x="1563547" y="2377961"/>
              <a:ext cx="87961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Content Placeholder 13">
              <a:extLst>
                <a:ext uri="{FF2B5EF4-FFF2-40B4-BE49-F238E27FC236}">
                  <a16:creationId xmlns:a16="http://schemas.microsoft.com/office/drawing/2014/main" id="{54B31228-F543-9646-1710-2689EB44C113}"/>
                </a:ext>
              </a:extLst>
            </p:cNvPr>
            <p:cNvSpPr txBox="1">
              <a:spLocks/>
            </p:cNvSpPr>
            <p:nvPr/>
          </p:nvSpPr>
          <p:spPr>
            <a:xfrm>
              <a:off x="1563547" y="2471965"/>
              <a:ext cx="967579" cy="859665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20+ years of technical experience in printed electronics, static field theory, nanomaterials, sensor technologies and the management of technical project teams</a:t>
              </a:r>
            </a:p>
          </p:txBody>
        </p: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1BA580FD-D8F0-803B-754A-D4A4B2F6EF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57" r="4557"/>
            <a:stretch>
              <a:fillRect/>
            </a:stretch>
          </p:blipFill>
          <p:spPr bwMode="auto">
            <a:xfrm>
              <a:off x="1563547" y="1080210"/>
              <a:ext cx="879617" cy="967822"/>
            </a:xfrm>
            <a:custGeom>
              <a:avLst/>
              <a:gdLst>
                <a:gd name="connsiteX0" fmla="*/ 0 w 879617"/>
                <a:gd name="connsiteY0" fmla="*/ 0 h 967822"/>
                <a:gd name="connsiteX1" fmla="*/ 879617 w 879617"/>
                <a:gd name="connsiteY1" fmla="*/ 0 h 967822"/>
                <a:gd name="connsiteX2" fmla="*/ 879617 w 879617"/>
                <a:gd name="connsiteY2" fmla="*/ 967822 h 967822"/>
                <a:gd name="connsiteX3" fmla="*/ 0 w 879617"/>
                <a:gd name="connsiteY3" fmla="*/ 967822 h 9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9617" h="967822">
                  <a:moveTo>
                    <a:pt x="0" y="0"/>
                  </a:moveTo>
                  <a:lnTo>
                    <a:pt x="879617" y="0"/>
                  </a:lnTo>
                  <a:lnTo>
                    <a:pt x="879617" y="967822"/>
                  </a:lnTo>
                  <a:lnTo>
                    <a:pt x="0" y="967822"/>
                  </a:ln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2DE71A6E-993C-3B50-6F64-E94D68D10B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71346" y="1940032"/>
              <a:ext cx="171818" cy="10800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84" name="Picture Placeholder 32">
              <a:extLst>
                <a:ext uri="{FF2B5EF4-FFF2-40B4-BE49-F238E27FC236}">
                  <a16:creationId xmlns:a16="http://schemas.microsoft.com/office/drawing/2014/main" id="{655B55A5-67A2-641F-97BC-C85E720E5A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919942" y="1080210"/>
              <a:ext cx="879617" cy="967822"/>
            </a:xfrm>
            <a:prstGeom prst="rect">
              <a:avLst/>
            </a:prstGeom>
          </p:spPr>
        </p:pic>
        <p:sp>
          <p:nvSpPr>
            <p:cNvPr id="85" name="Content Placeholder 48">
              <a:extLst>
                <a:ext uri="{FF2B5EF4-FFF2-40B4-BE49-F238E27FC236}">
                  <a16:creationId xmlns:a16="http://schemas.microsoft.com/office/drawing/2014/main" id="{E1180D4E-2921-C95E-5DAA-87F1A108FC59}"/>
                </a:ext>
              </a:extLst>
            </p:cNvPr>
            <p:cNvSpPr txBox="1">
              <a:spLocks/>
            </p:cNvSpPr>
            <p:nvPr/>
          </p:nvSpPr>
          <p:spPr>
            <a:xfrm>
              <a:off x="6919942" y="2132947"/>
              <a:ext cx="879617" cy="302419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alla Kalaja</a:t>
              </a:r>
              <a:b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</a:b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Quality Director </a:t>
              </a:r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D94D2D8E-EC2A-1D96-E707-2206601CD74D}"/>
                </a:ext>
              </a:extLst>
            </p:cNvPr>
            <p:cNvCxnSpPr>
              <a:cxnSpLocks/>
            </p:cNvCxnSpPr>
            <p:nvPr/>
          </p:nvCxnSpPr>
          <p:spPr>
            <a:xfrm>
              <a:off x="6919942" y="2377961"/>
              <a:ext cx="87961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Content Placeholder 13">
              <a:extLst>
                <a:ext uri="{FF2B5EF4-FFF2-40B4-BE49-F238E27FC236}">
                  <a16:creationId xmlns:a16="http://schemas.microsoft.com/office/drawing/2014/main" id="{43FFCBEA-C00A-F3F8-E0DF-F9B5F6C652AB}"/>
                </a:ext>
              </a:extLst>
            </p:cNvPr>
            <p:cNvSpPr txBox="1">
              <a:spLocks/>
            </p:cNvSpPr>
            <p:nvPr/>
          </p:nvSpPr>
          <p:spPr>
            <a:xfrm>
              <a:off x="6827582" y="2471965"/>
              <a:ext cx="1064337" cy="859665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15+ years of experience in business planning, reporting, quality management, organisational development and R&amp;D portfolio management</a:t>
              </a:r>
            </a:p>
          </p:txBody>
        </p:sp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5C1DD582-6068-E5BB-6062-2B38CBF90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27741" y="1940032"/>
              <a:ext cx="171818" cy="10800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5E2E1188-2FFC-FD30-DC6E-D54A5D2793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48663" y="1080210"/>
              <a:ext cx="879617" cy="967822"/>
            </a:xfrm>
            <a:prstGeom prst="rect">
              <a:avLst/>
            </a:prstGeom>
          </p:spPr>
        </p:pic>
        <p:sp>
          <p:nvSpPr>
            <p:cNvPr id="92" name="Content Placeholder 23">
              <a:extLst>
                <a:ext uri="{FF2B5EF4-FFF2-40B4-BE49-F238E27FC236}">
                  <a16:creationId xmlns:a16="http://schemas.microsoft.com/office/drawing/2014/main" id="{763B3D75-F691-2E03-D491-533E530DB3C9}"/>
                </a:ext>
              </a:extLst>
            </p:cNvPr>
            <p:cNvSpPr txBox="1">
              <a:spLocks/>
            </p:cNvSpPr>
            <p:nvPr/>
          </p:nvSpPr>
          <p:spPr>
            <a:xfrm>
              <a:off x="5848663" y="2132947"/>
              <a:ext cx="879617" cy="302419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iers Andrew</a:t>
              </a:r>
              <a:b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</a:b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esearch Director</a:t>
              </a: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04A25781-6B70-4CCD-5C8B-A518969ECC3A}"/>
                </a:ext>
              </a:extLst>
            </p:cNvPr>
            <p:cNvCxnSpPr>
              <a:cxnSpLocks/>
            </p:cNvCxnSpPr>
            <p:nvPr/>
          </p:nvCxnSpPr>
          <p:spPr>
            <a:xfrm>
              <a:off x="5848663" y="2377961"/>
              <a:ext cx="87961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Content Placeholder 13">
              <a:extLst>
                <a:ext uri="{FF2B5EF4-FFF2-40B4-BE49-F238E27FC236}">
                  <a16:creationId xmlns:a16="http://schemas.microsoft.com/office/drawing/2014/main" id="{6AAC86A9-D46C-D072-B612-D21AFED54115}"/>
                </a:ext>
              </a:extLst>
            </p:cNvPr>
            <p:cNvSpPr txBox="1">
              <a:spLocks/>
            </p:cNvSpPr>
            <p:nvPr/>
          </p:nvSpPr>
          <p:spPr>
            <a:xfrm>
              <a:off x="5848663" y="2471965"/>
              <a:ext cx="967579" cy="859665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Optical physicist with 20 years of experience in photonics, plasmonics and materials science </a:t>
              </a:r>
            </a:p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100+ patents granted</a:t>
              </a:r>
            </a:p>
          </p:txBody>
        </p:sp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FFEB0A57-C546-00AF-83E4-5925D9CE4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556462" y="1940032"/>
              <a:ext cx="171818" cy="10800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sp>
          <p:nvSpPr>
            <p:cNvPr id="107" name="Content Placeholder 48">
              <a:extLst>
                <a:ext uri="{FF2B5EF4-FFF2-40B4-BE49-F238E27FC236}">
                  <a16:creationId xmlns:a16="http://schemas.microsoft.com/office/drawing/2014/main" id="{E1BB94C0-9D3E-A36D-CF60-FD2DA1B9698F}"/>
                </a:ext>
              </a:extLst>
            </p:cNvPr>
            <p:cNvSpPr txBox="1">
              <a:spLocks/>
            </p:cNvSpPr>
            <p:nvPr/>
          </p:nvSpPr>
          <p:spPr>
            <a:xfrm>
              <a:off x="2634826" y="2132947"/>
              <a:ext cx="879617" cy="302419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Jose Lopez</a:t>
              </a:r>
              <a:b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</a:b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ales Director </a:t>
              </a:r>
            </a:p>
          </p:txBody>
        </p:sp>
        <p:pic>
          <p:nvPicPr>
            <p:cNvPr id="108" name="Picture 4">
              <a:extLst>
                <a:ext uri="{FF2B5EF4-FFF2-40B4-BE49-F238E27FC236}">
                  <a16:creationId xmlns:a16="http://schemas.microsoft.com/office/drawing/2014/main" id="{3BCA5D4C-3FC8-9954-92DA-5B78E687228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34826" y="1080210"/>
              <a:ext cx="879617" cy="967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D9ECEFDA-C388-C8CE-9A2A-8E4227B3BE49}"/>
                </a:ext>
              </a:extLst>
            </p:cNvPr>
            <p:cNvCxnSpPr>
              <a:cxnSpLocks/>
            </p:cNvCxnSpPr>
            <p:nvPr/>
          </p:nvCxnSpPr>
          <p:spPr>
            <a:xfrm>
              <a:off x="2634826" y="2377961"/>
              <a:ext cx="87961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Content Placeholder 13">
              <a:extLst>
                <a:ext uri="{FF2B5EF4-FFF2-40B4-BE49-F238E27FC236}">
                  <a16:creationId xmlns:a16="http://schemas.microsoft.com/office/drawing/2014/main" id="{72D941A6-4E6D-BE8D-CF59-A8E88105E6BF}"/>
                </a:ext>
              </a:extLst>
            </p:cNvPr>
            <p:cNvSpPr txBox="1">
              <a:spLocks/>
            </p:cNvSpPr>
            <p:nvPr/>
          </p:nvSpPr>
          <p:spPr>
            <a:xfrm>
              <a:off x="2634826" y="2471965"/>
              <a:ext cx="967579" cy="859665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25+ years of experience in technology sales &amp; marketing covering photonics, security, machine vision and industrial automation</a:t>
              </a:r>
            </a:p>
          </p:txBody>
        </p:sp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4BFC5F5D-0F5E-2413-0206-7C22ABBEE4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342625" y="1940032"/>
              <a:ext cx="171818" cy="10800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sp>
          <p:nvSpPr>
            <p:cNvPr id="130" name="Content Placeholder 45">
              <a:extLst>
                <a:ext uri="{FF2B5EF4-FFF2-40B4-BE49-F238E27FC236}">
                  <a16:creationId xmlns:a16="http://schemas.microsoft.com/office/drawing/2014/main" id="{8D249FA7-19CC-4850-E003-F28D7839DC58}"/>
                </a:ext>
              </a:extLst>
            </p:cNvPr>
            <p:cNvSpPr txBox="1">
              <a:spLocks/>
            </p:cNvSpPr>
            <p:nvPr/>
          </p:nvSpPr>
          <p:spPr>
            <a:xfrm>
              <a:off x="7947240" y="2132947"/>
              <a:ext cx="967579" cy="302419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ami Kyllönen</a:t>
              </a:r>
              <a:b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</a:b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roduction Director</a:t>
              </a:r>
            </a:p>
          </p:txBody>
        </p:sp>
        <p:pic>
          <p:nvPicPr>
            <p:cNvPr id="131" name="Picture 2">
              <a:extLst>
                <a:ext uri="{FF2B5EF4-FFF2-40B4-BE49-F238E27FC236}">
                  <a16:creationId xmlns:a16="http://schemas.microsoft.com/office/drawing/2014/main" id="{FCA97625-BE76-4832-2AAF-5802D39FF7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991221" y="1080210"/>
              <a:ext cx="879617" cy="967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3DEB4E22-5FB5-F142-7107-211332054D70}"/>
                </a:ext>
              </a:extLst>
            </p:cNvPr>
            <p:cNvCxnSpPr>
              <a:cxnSpLocks/>
            </p:cNvCxnSpPr>
            <p:nvPr/>
          </p:nvCxnSpPr>
          <p:spPr>
            <a:xfrm>
              <a:off x="7991221" y="2377961"/>
              <a:ext cx="87961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Content Placeholder 13">
              <a:extLst>
                <a:ext uri="{FF2B5EF4-FFF2-40B4-BE49-F238E27FC236}">
                  <a16:creationId xmlns:a16="http://schemas.microsoft.com/office/drawing/2014/main" id="{586DB24F-16CB-397A-8C83-C7832858948E}"/>
                </a:ext>
              </a:extLst>
            </p:cNvPr>
            <p:cNvSpPr txBox="1">
              <a:spLocks/>
            </p:cNvSpPr>
            <p:nvPr/>
          </p:nvSpPr>
          <p:spPr>
            <a:xfrm>
              <a:off x="7947240" y="2471965"/>
              <a:ext cx="967579" cy="859665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15+ years of experience in operations, program management and design engineering</a:t>
              </a:r>
            </a:p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Leadership responsibility in organisations with 500+ employees in electronics and medical sectors</a:t>
              </a:r>
            </a:p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ontserrat" panose="000005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855C464B-71BE-9EAF-8E8E-BE06E190F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99020" y="1940032"/>
              <a:ext cx="171818" cy="10800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3" name="Picture 6">
              <a:extLst>
                <a:ext uri="{FF2B5EF4-FFF2-40B4-BE49-F238E27FC236}">
                  <a16:creationId xmlns:a16="http://schemas.microsoft.com/office/drawing/2014/main" id="{3C3AEADA-C9BC-A2C5-42A1-9DDB76B1BC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617" y="4346432"/>
              <a:ext cx="240077" cy="2000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14" descr="VTT Technical Research Centre of Finland Ltd. - EIT RawMaterials">
              <a:extLst>
                <a:ext uri="{FF2B5EF4-FFF2-40B4-BE49-F238E27FC236}">
                  <a16:creationId xmlns:a16="http://schemas.microsoft.com/office/drawing/2014/main" id="{0977A750-6B22-4A27-2BAD-C9BE0270532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45" t="26409" r="14909" b="29037"/>
            <a:stretch/>
          </p:blipFill>
          <p:spPr bwMode="auto">
            <a:xfrm>
              <a:off x="577640" y="4179005"/>
              <a:ext cx="264405" cy="1177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4">
              <a:extLst>
                <a:ext uri="{FF2B5EF4-FFF2-40B4-BE49-F238E27FC236}">
                  <a16:creationId xmlns:a16="http://schemas.microsoft.com/office/drawing/2014/main" id="{CBC2304A-E94D-196C-F9F3-E1F76A13AD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465" y="4051117"/>
              <a:ext cx="393584" cy="665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7" name="Picture 18">
              <a:extLst>
                <a:ext uri="{FF2B5EF4-FFF2-40B4-BE49-F238E27FC236}">
                  <a16:creationId xmlns:a16="http://schemas.microsoft.com/office/drawing/2014/main" id="{6F8BC731-BADD-1BA2-F469-0BE669B11B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59325" y="4398279"/>
              <a:ext cx="411837" cy="169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24">
              <a:extLst>
                <a:ext uri="{FF2B5EF4-FFF2-40B4-BE49-F238E27FC236}">
                  <a16:creationId xmlns:a16="http://schemas.microsoft.com/office/drawing/2014/main" id="{FF112639-FAF8-887F-65DD-86A3C6CBED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59475" y="4070919"/>
              <a:ext cx="393585" cy="665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24">
              <a:extLst>
                <a:ext uri="{FF2B5EF4-FFF2-40B4-BE49-F238E27FC236}">
                  <a16:creationId xmlns:a16="http://schemas.microsoft.com/office/drawing/2014/main" id="{3D0980AC-0F57-444C-8679-EE7BDE2818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2958" y="4116201"/>
              <a:ext cx="393585" cy="665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24">
              <a:extLst>
                <a:ext uri="{FF2B5EF4-FFF2-40B4-BE49-F238E27FC236}">
                  <a16:creationId xmlns:a16="http://schemas.microsoft.com/office/drawing/2014/main" id="{23A10734-ABED-10AC-81A4-A2D0F6A3FA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6999" y="4160808"/>
              <a:ext cx="393584" cy="665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>
              <a:extLst>
                <a:ext uri="{FF2B5EF4-FFF2-40B4-BE49-F238E27FC236}">
                  <a16:creationId xmlns:a16="http://schemas.microsoft.com/office/drawing/2014/main" id="{30295C3B-EBE2-EF7D-B1D3-FEE8E3DF82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1206" y="4263327"/>
              <a:ext cx="240077" cy="2000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14" descr="VTT Technical Research Centre of Finland Ltd. - EIT RawMaterials">
              <a:extLst>
                <a:ext uri="{FF2B5EF4-FFF2-40B4-BE49-F238E27FC236}">
                  <a16:creationId xmlns:a16="http://schemas.microsoft.com/office/drawing/2014/main" id="{A3FC5571-92B5-6D19-A297-BC913AB88BD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45" t="26409" r="14909" b="29037"/>
            <a:stretch/>
          </p:blipFill>
          <p:spPr bwMode="auto">
            <a:xfrm>
              <a:off x="2113268" y="4248829"/>
              <a:ext cx="264405" cy="1177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5" name="Picture 16" descr="Scanfil">
              <a:extLst>
                <a:ext uri="{FF2B5EF4-FFF2-40B4-BE49-F238E27FC236}">
                  <a16:creationId xmlns:a16="http://schemas.microsoft.com/office/drawing/2014/main" id="{AB1391BD-6B22-08D4-18C8-F70D0397C9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08150" y="4256686"/>
              <a:ext cx="393584" cy="2588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6" name="Picture 24" descr="GE Healthcare | Sales Enablement Client | Showpad">
              <a:extLst>
                <a:ext uri="{FF2B5EF4-FFF2-40B4-BE49-F238E27FC236}">
                  <a16:creationId xmlns:a16="http://schemas.microsoft.com/office/drawing/2014/main" id="{9706BC75-6DE3-9BBA-9956-21E32378A5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7653" y="4113846"/>
              <a:ext cx="640992" cy="156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7" name="Picture 10" descr="Phillips-Medisize Corp. - CMOCRO">
              <a:extLst>
                <a:ext uri="{FF2B5EF4-FFF2-40B4-BE49-F238E27FC236}">
                  <a16:creationId xmlns:a16="http://schemas.microsoft.com/office/drawing/2014/main" id="{E3D7541B-B79E-6F8F-90A6-34E041A5E0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60324" y="4308035"/>
              <a:ext cx="312336" cy="156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 descr="A blue text on a black background&#10;&#10;Description automatically generated">
              <a:extLst>
                <a:ext uri="{FF2B5EF4-FFF2-40B4-BE49-F238E27FC236}">
                  <a16:creationId xmlns:a16="http://schemas.microsoft.com/office/drawing/2014/main" id="{850576AD-4259-9744-AD61-C02E694440C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042471" y="3875872"/>
              <a:ext cx="390412" cy="404182"/>
            </a:xfrm>
            <a:prstGeom prst="rect">
              <a:avLst/>
            </a:prstGeom>
          </p:spPr>
        </p:pic>
        <p:pic>
          <p:nvPicPr>
            <p:cNvPr id="23" name="Picture 2" descr="Download University of Cambridge Logo in SVG Vector or PNG File Format -  Logo.wine">
              <a:extLst>
                <a:ext uri="{FF2B5EF4-FFF2-40B4-BE49-F238E27FC236}">
                  <a16:creationId xmlns:a16="http://schemas.microsoft.com/office/drawing/2014/main" id="{95A27E5A-B15E-0ECD-7E47-A2A8BD63C3A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48" t="35516" r="10394" b="36838"/>
            <a:stretch/>
          </p:blipFill>
          <p:spPr bwMode="auto">
            <a:xfrm>
              <a:off x="888216" y="4173943"/>
              <a:ext cx="571284" cy="1313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6" descr="A yellow exclamation mark on a black background&#10;&#10;Description automatically generated">
              <a:extLst>
                <a:ext uri="{FF2B5EF4-FFF2-40B4-BE49-F238E27FC236}">
                  <a16:creationId xmlns:a16="http://schemas.microsoft.com/office/drawing/2014/main" id="{5CFC9C29-F670-1168-8F1F-BAEB268E485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2026" y="4270691"/>
              <a:ext cx="240077" cy="2000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" descr="Download University of Cambridge Logo in SVG Vector or PNG File Format -  Logo.wine">
              <a:extLst>
                <a:ext uri="{FF2B5EF4-FFF2-40B4-BE49-F238E27FC236}">
                  <a16:creationId xmlns:a16="http://schemas.microsoft.com/office/drawing/2014/main" id="{53671151-08EB-B47C-15F9-4391C59214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48" t="35516" r="10394" b="36838"/>
            <a:stretch/>
          </p:blipFill>
          <p:spPr bwMode="auto">
            <a:xfrm>
              <a:off x="6059258" y="4211814"/>
              <a:ext cx="571284" cy="1313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16">
              <a:extLst>
                <a:ext uri="{FF2B5EF4-FFF2-40B4-BE49-F238E27FC236}">
                  <a16:creationId xmlns:a16="http://schemas.microsoft.com/office/drawing/2014/main" id="{176B58C4-F5FA-5283-1E5D-529590EB80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1787" y="4398279"/>
              <a:ext cx="498521" cy="1855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18">
              <a:extLst>
                <a:ext uri="{FF2B5EF4-FFF2-40B4-BE49-F238E27FC236}">
                  <a16:creationId xmlns:a16="http://schemas.microsoft.com/office/drawing/2014/main" id="{F366F926-C094-F206-511D-5C73DAB9B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2563" y="3902782"/>
              <a:ext cx="393482" cy="983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 descr="A blue square with white text&#10;&#10;Description automatically generated">
              <a:extLst>
                <a:ext uri="{FF2B5EF4-FFF2-40B4-BE49-F238E27FC236}">
                  <a16:creationId xmlns:a16="http://schemas.microsoft.com/office/drawing/2014/main" id="{043FB813-FE78-B451-8DB7-B708F27F8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2791791" y="4055215"/>
              <a:ext cx="286109" cy="315973"/>
            </a:xfrm>
            <a:prstGeom prst="rect">
              <a:avLst/>
            </a:prstGeom>
          </p:spPr>
        </p:pic>
        <p:pic>
          <p:nvPicPr>
            <p:cNvPr id="28" name="Picture 27" descr="A blue and white logo&#10;&#10;Description automatically generated">
              <a:extLst>
                <a:ext uri="{FF2B5EF4-FFF2-40B4-BE49-F238E27FC236}">
                  <a16:creationId xmlns:a16="http://schemas.microsoft.com/office/drawing/2014/main" id="{D6FCB6B4-EE12-851B-4AE6-621FF7E1A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3118791" y="4033083"/>
              <a:ext cx="252004" cy="337496"/>
            </a:xfrm>
            <a:prstGeom prst="rect">
              <a:avLst/>
            </a:prstGeom>
          </p:spPr>
        </p:pic>
        <p:pic>
          <p:nvPicPr>
            <p:cNvPr id="33" name="Picture Placeholder 34">
              <a:extLst>
                <a:ext uri="{FF2B5EF4-FFF2-40B4-BE49-F238E27FC236}">
                  <a16:creationId xmlns:a16="http://schemas.microsoft.com/office/drawing/2014/main" id="{1C99C50A-FAA7-830C-CA0D-65A1D86000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703293" y="1080210"/>
              <a:ext cx="879617" cy="967822"/>
            </a:xfrm>
            <a:prstGeom prst="rect">
              <a:avLst/>
            </a:prstGeom>
          </p:spPr>
        </p:pic>
        <p:sp>
          <p:nvSpPr>
            <p:cNvPr id="34" name="Content Placeholder 45">
              <a:extLst>
                <a:ext uri="{FF2B5EF4-FFF2-40B4-BE49-F238E27FC236}">
                  <a16:creationId xmlns:a16="http://schemas.microsoft.com/office/drawing/2014/main" id="{8AD1B816-A767-3BAA-03D5-A633A9F2C4CA}"/>
                </a:ext>
              </a:extLst>
            </p:cNvPr>
            <p:cNvSpPr txBox="1">
              <a:spLocks/>
            </p:cNvSpPr>
            <p:nvPr/>
          </p:nvSpPr>
          <p:spPr>
            <a:xfrm>
              <a:off x="3610933" y="2132947"/>
              <a:ext cx="1064337" cy="302419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Jyri Hämäläinen</a:t>
              </a:r>
              <a:b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</a:b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Marketing Director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16F42D7-6CE2-9C2B-84FF-67CB56C57693}"/>
                </a:ext>
              </a:extLst>
            </p:cNvPr>
            <p:cNvCxnSpPr>
              <a:cxnSpLocks/>
            </p:cNvCxnSpPr>
            <p:nvPr/>
          </p:nvCxnSpPr>
          <p:spPr>
            <a:xfrm>
              <a:off x="3703293" y="2377961"/>
              <a:ext cx="87961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Content Placeholder 13">
              <a:extLst>
                <a:ext uri="{FF2B5EF4-FFF2-40B4-BE49-F238E27FC236}">
                  <a16:creationId xmlns:a16="http://schemas.microsoft.com/office/drawing/2014/main" id="{B268AD7A-26F0-F7F4-7A80-8D5260AF8CDC}"/>
                </a:ext>
              </a:extLst>
            </p:cNvPr>
            <p:cNvSpPr txBox="1">
              <a:spLocks/>
            </p:cNvSpPr>
            <p:nvPr/>
          </p:nvSpPr>
          <p:spPr>
            <a:xfrm>
              <a:off x="3703293" y="2471965"/>
              <a:ext cx="967579" cy="859665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20+ years in management, business development, technology sales and strategy</a:t>
              </a: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5C656481-C20C-FF84-AF99-AFB47EDA63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411092" y="1940032"/>
              <a:ext cx="171818" cy="10800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24C25C8-6EB7-6BC1-5357-496A74F3056A}"/>
                </a:ext>
              </a:extLst>
            </p:cNvPr>
            <p:cNvGrpSpPr>
              <a:grpSpLocks/>
            </p:cNvGrpSpPr>
            <p:nvPr/>
          </p:nvGrpSpPr>
          <p:grpSpPr>
            <a:xfrm>
              <a:off x="3846681" y="4141437"/>
              <a:ext cx="680803" cy="333429"/>
              <a:chOff x="4845623" y="4122091"/>
              <a:chExt cx="811377" cy="397379"/>
            </a:xfrm>
          </p:grpSpPr>
          <p:pic>
            <p:nvPicPr>
              <p:cNvPr id="39" name="Picture 14" descr="UPM (company) - Wikipedia">
                <a:extLst>
                  <a:ext uri="{FF2B5EF4-FFF2-40B4-BE49-F238E27FC236}">
                    <a16:creationId xmlns:a16="http://schemas.microsoft.com/office/drawing/2014/main" id="{A70BB35E-F040-2402-B5F7-3EFF80AEC9D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41283" y="4122091"/>
                <a:ext cx="315717" cy="3960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24">
                <a:extLst>
                  <a:ext uri="{FF2B5EF4-FFF2-40B4-BE49-F238E27FC236}">
                    <a16:creationId xmlns:a16="http://schemas.microsoft.com/office/drawing/2014/main" id="{DF6F7AA8-61F9-CB84-EDDC-C52A105B1DC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45623" y="4163734"/>
                <a:ext cx="469072" cy="793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" name="Picture 26" descr="Boston Consulting Group Logo">
                <a:extLst>
                  <a:ext uri="{FF2B5EF4-FFF2-40B4-BE49-F238E27FC236}">
                    <a16:creationId xmlns:a16="http://schemas.microsoft.com/office/drawing/2014/main" id="{03E44474-CE40-8ECE-46CB-13AAAF588B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88650" y="4365976"/>
                <a:ext cx="383017" cy="1534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44" name="Picture Placeholder 30">
              <a:extLst>
                <a:ext uri="{FF2B5EF4-FFF2-40B4-BE49-F238E27FC236}">
                  <a16:creationId xmlns:a16="http://schemas.microsoft.com/office/drawing/2014/main" id="{05BE1A52-F49B-3DA9-294F-1B88F8F344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76120" y="1080210"/>
              <a:ext cx="879617" cy="967822"/>
            </a:xfrm>
            <a:prstGeom prst="rect">
              <a:avLst/>
            </a:prstGeom>
          </p:spPr>
        </p:pic>
        <p:sp>
          <p:nvSpPr>
            <p:cNvPr id="46" name="Content Placeholder 51">
              <a:extLst>
                <a:ext uri="{FF2B5EF4-FFF2-40B4-BE49-F238E27FC236}">
                  <a16:creationId xmlns:a16="http://schemas.microsoft.com/office/drawing/2014/main" id="{938E72D8-12B2-FD13-D67B-0BF78ED04992}"/>
                </a:ext>
              </a:extLst>
            </p:cNvPr>
            <p:cNvSpPr txBox="1">
              <a:spLocks/>
            </p:cNvSpPr>
            <p:nvPr/>
          </p:nvSpPr>
          <p:spPr>
            <a:xfrm>
              <a:off x="4732139" y="2132947"/>
              <a:ext cx="967579" cy="302419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eppo Malmivaara</a:t>
              </a:r>
              <a:b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7F00"/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</a:b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Finance Director</a:t>
              </a:r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2B786AED-B795-0209-D877-D07805614B93}"/>
                </a:ext>
              </a:extLst>
            </p:cNvPr>
            <p:cNvCxnSpPr>
              <a:cxnSpLocks/>
            </p:cNvCxnSpPr>
            <p:nvPr/>
          </p:nvCxnSpPr>
          <p:spPr>
            <a:xfrm>
              <a:off x="4776120" y="2377961"/>
              <a:ext cx="87961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Content Placeholder 13">
              <a:extLst>
                <a:ext uri="{FF2B5EF4-FFF2-40B4-BE49-F238E27FC236}">
                  <a16:creationId xmlns:a16="http://schemas.microsoft.com/office/drawing/2014/main" id="{DC5BDA41-D9C0-69D6-F6F0-2C10A74FA91B}"/>
                </a:ext>
              </a:extLst>
            </p:cNvPr>
            <p:cNvSpPr txBox="1">
              <a:spLocks/>
            </p:cNvSpPr>
            <p:nvPr/>
          </p:nvSpPr>
          <p:spPr>
            <a:xfrm>
              <a:off x="4732139" y="2471965"/>
              <a:ext cx="967579" cy="859665"/>
            </a:xfrm>
            <a:prstGeom prst="rect">
              <a:avLst/>
            </a:prstGeom>
          </p:spPr>
          <p:txBody>
            <a:bodyPr vert="horz" wrap="square" lIns="2700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000" b="0" i="0" kern="1200" baseline="0">
                  <a:solidFill>
                    <a:srgbClr val="FF7F0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Roboto Light" panose="02000000000000000000" pitchFamily="2" charset="0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2pPr>
              <a:lvl3pPr marL="216000" indent="-216000" algn="l" defTabSz="914400" rtl="0" eaLnBrk="1" latinLnBrk="0" hangingPunct="1"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3pPr>
              <a:lvl4pPr marL="468000" indent="-108000" algn="l" defTabSz="914400" rtl="0" eaLnBrk="1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000" b="0" i="0" kern="120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4pPr>
              <a:lvl5pPr marL="21717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bg1"/>
                  </a:solidFill>
                  <a:latin typeface="Roboto Thin" panose="02000000000000000000" pitchFamily="2" charset="0"/>
                  <a:ea typeface="Roboto Thin" panose="02000000000000000000" pitchFamily="2" charset="0"/>
                  <a:cs typeface="Roboto Light" panose="02000000000000000000" pitchFamily="2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20+ years of financial and operational leadership experience in global tech and manufacturing</a:t>
              </a:r>
            </a:p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Montserrat" panose="000005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reviously held global finance leadership positions</a:t>
              </a:r>
            </a:p>
          </p:txBody>
        </p: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58AC0001-94F6-E036-B4BF-58DB6CEBCE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83919" y="1940032"/>
              <a:ext cx="171818" cy="10800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50967B6D-471D-7919-D9B0-5A619032E3D2}"/>
                </a:ext>
              </a:extLst>
            </p:cNvPr>
            <p:cNvGrpSpPr>
              <a:grpSpLocks/>
            </p:cNvGrpSpPr>
            <p:nvPr/>
          </p:nvGrpSpPr>
          <p:grpSpPr>
            <a:xfrm>
              <a:off x="4774852" y="4171036"/>
              <a:ext cx="540297" cy="358027"/>
              <a:chOff x="3636942" y="4184104"/>
              <a:chExt cx="643924" cy="426692"/>
            </a:xfrm>
          </p:grpSpPr>
          <p:pic>
            <p:nvPicPr>
              <p:cNvPr id="58" name="Picture 24">
                <a:extLst>
                  <a:ext uri="{FF2B5EF4-FFF2-40B4-BE49-F238E27FC236}">
                    <a16:creationId xmlns:a16="http://schemas.microsoft.com/office/drawing/2014/main" id="{7ACE3852-C566-D35A-85CA-DEA4D73D6A0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9723" y="4184104"/>
                <a:ext cx="469072" cy="7931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0" name="Picture 6">
                <a:extLst>
                  <a:ext uri="{FF2B5EF4-FFF2-40B4-BE49-F238E27FC236}">
                    <a16:creationId xmlns:a16="http://schemas.microsoft.com/office/drawing/2014/main" id="{D9CC8E8D-0376-70DF-BC68-A61BB1A518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36942" y="4357211"/>
                <a:ext cx="286121" cy="2383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3" name="Picture 28" descr="Hyster-Yale Group logo">
                <a:extLst>
                  <a:ext uri="{FF2B5EF4-FFF2-40B4-BE49-F238E27FC236}">
                    <a16:creationId xmlns:a16="http://schemas.microsoft.com/office/drawing/2014/main" id="{631B875A-9933-6CEF-EB34-DF5A7A702F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2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94743" y="4324674"/>
                <a:ext cx="286123" cy="2861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57" name="Picture 14" descr="UPM (company) - Wikipedia">
              <a:extLst>
                <a:ext uri="{FF2B5EF4-FFF2-40B4-BE49-F238E27FC236}">
                  <a16:creationId xmlns:a16="http://schemas.microsoft.com/office/drawing/2014/main" id="{A59883AC-6A08-8E96-760E-98B0E68AEC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54904" y="4139167"/>
              <a:ext cx="264909" cy="332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6033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50608A3-ABB2-974E-FBE8-CC449BFF07D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99593" y="1067765"/>
            <a:ext cx="7110314" cy="1372024"/>
          </a:xfrm>
        </p:spPr>
        <p:txBody>
          <a:bodyPr>
            <a:normAutofit/>
          </a:bodyPr>
          <a:lstStyle/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sz="1500" dirty="0">
                <a:latin typeface="Roboto Light" panose="02000000000000000000" pitchFamily="2" charset="0"/>
                <a:ea typeface="Roboto Light" panose="02000000000000000000" pitchFamily="2" charset="0"/>
              </a:rPr>
              <a:t>Emberion raised €6 million in funding from </a:t>
            </a:r>
            <a:r>
              <a:rPr lang="en-US" sz="1500" dirty="0" err="1">
                <a:latin typeface="Roboto Light" panose="02000000000000000000" pitchFamily="2" charset="0"/>
                <a:ea typeface="Roboto Light" panose="02000000000000000000" pitchFamily="2" charset="0"/>
              </a:rPr>
              <a:t>Nidoco</a:t>
            </a:r>
            <a:r>
              <a:rPr lang="en-US" sz="1500" dirty="0">
                <a:latin typeface="Roboto Light" panose="02000000000000000000" pitchFamily="2" charset="0"/>
                <a:ea typeface="Roboto Light" panose="02000000000000000000" pitchFamily="2" charset="0"/>
              </a:rPr>
              <a:t> AB, </a:t>
            </a:r>
            <a:r>
              <a:rPr lang="en-US" sz="1500" dirty="0" err="1">
                <a:latin typeface="Roboto Light" panose="02000000000000000000" pitchFamily="2" charset="0"/>
                <a:ea typeface="Roboto Light" panose="02000000000000000000" pitchFamily="2" charset="0"/>
              </a:rPr>
              <a:t>Tesi</a:t>
            </a:r>
            <a:r>
              <a:rPr lang="en-US" sz="1500" dirty="0">
                <a:latin typeface="Roboto Light" panose="02000000000000000000" pitchFamily="2" charset="0"/>
                <a:ea typeface="Roboto Light" panose="02000000000000000000" pitchFamily="2" charset="0"/>
              </a:rPr>
              <a:t> (Finnish Industry Investment Ltd) and Verso Capital in December 2021</a:t>
            </a:r>
          </a:p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sz="1500" dirty="0">
                <a:latin typeface="Roboto Light" panose="02000000000000000000" pitchFamily="2" charset="0"/>
                <a:ea typeface="Roboto Light" panose="02000000000000000000" pitchFamily="2" charset="0"/>
              </a:rPr>
              <a:t>Previous investments by Verso Capital that invested in Emberion since company established in 2016</a:t>
            </a:r>
          </a:p>
          <a:p>
            <a:pPr marL="285743" indent="-285743">
              <a:buFont typeface="Arial" panose="020B0604020202020204" pitchFamily="34" charset="0"/>
              <a:buChar char="•"/>
            </a:pPr>
            <a:endParaRPr lang="en-FI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A0721A5-7CC3-8549-59B8-E77E4ED2E102}"/>
              </a:ext>
            </a:extLst>
          </p:cNvPr>
          <p:cNvGrpSpPr/>
          <p:nvPr/>
        </p:nvGrpSpPr>
        <p:grpSpPr>
          <a:xfrm>
            <a:off x="1198660" y="2669353"/>
            <a:ext cx="6543632" cy="743765"/>
            <a:chOff x="1643932" y="3429000"/>
            <a:chExt cx="8724843" cy="99168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AB8BB45-9F6E-A168-27D3-0FC782B806BB}"/>
                </a:ext>
              </a:extLst>
            </p:cNvPr>
            <p:cNvSpPr/>
            <p:nvPr/>
          </p:nvSpPr>
          <p:spPr>
            <a:xfrm>
              <a:off x="1643932" y="3429000"/>
              <a:ext cx="8724843" cy="9916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FF7F00"/>
              </a:solidFill>
            </a:ln>
            <a:effectLst>
              <a:glow rad="101600">
                <a:schemeClr val="accent2">
                  <a:satMod val="175000"/>
                  <a:alpha val="21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FI" sz="1350" dirty="0">
                <a:solidFill>
                  <a:prstClr val="white"/>
                </a:solidFill>
                <a:latin typeface="Roboto" panose="02000000000000000000" pitchFamily="2" charset="0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C527421-3820-E819-EC1C-046EF93C48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6109" b="10607"/>
            <a:stretch/>
          </p:blipFill>
          <p:spPr>
            <a:xfrm>
              <a:off x="7104744" y="3611576"/>
              <a:ext cx="3096878" cy="738064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89AC7227-68E4-8432-4B4D-A11B834E18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23086" y="3574377"/>
              <a:ext cx="2274569" cy="75296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C978E71-AEDF-65AB-106C-0F3129DF0E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207941" y="3669544"/>
              <a:ext cx="1828800" cy="506569"/>
            </a:xfrm>
            <a:prstGeom prst="rect">
              <a:avLst/>
            </a:prstGeom>
          </p:spPr>
        </p:pic>
      </p:grp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C3FEEC07-0B97-3386-D6B3-9147DE4A83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752" y="212593"/>
            <a:ext cx="8064499" cy="311150"/>
          </a:xfrm>
        </p:spPr>
        <p:txBody>
          <a:bodyPr vert="horz" lIns="0" tIns="34290" rIns="0" bIns="34290" rtlCol="0">
            <a:noAutofit/>
          </a:bodyPr>
          <a:lstStyle/>
          <a:p>
            <a:r>
              <a:rPr lang="en-US" sz="2000" dirty="0">
                <a:solidFill>
                  <a:prstClr val="white"/>
                </a:solidFill>
                <a:latin typeface="Roboto Light" panose="02000000000000000000"/>
                <a:ea typeface="Roboto Light" panose="02000000000000000000" pitchFamily="2" charset="0"/>
                <a:cs typeface="Roboto Light" panose="02000000000000000000" pitchFamily="2" charset="0"/>
              </a:rPr>
              <a:t>Emberion investment round December 2021</a:t>
            </a:r>
            <a:endParaRPr lang="en-US" sz="2000" dirty="0">
              <a:solidFill>
                <a:schemeClr val="bg1"/>
              </a:solidFill>
              <a:latin typeface="Roboto Light" panose="020000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38251371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58B058-F9D1-4C28-B9A0-E9EB97F37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976" y="120329"/>
            <a:ext cx="7779859" cy="575792"/>
          </a:xfrm>
        </p:spPr>
        <p:txBody>
          <a:bodyPr>
            <a:normAutofit/>
          </a:bodyPr>
          <a:lstStyle/>
          <a:p>
            <a:r>
              <a:rPr lang="en-GB" sz="2000" dirty="0">
                <a:solidFill>
                  <a:prstClr val="white"/>
                </a:solidFill>
                <a:latin typeface="Roboto Light" panose="02000000000000000000"/>
                <a:cs typeface="Roboto Light" panose="02000000000000000000" pitchFamily="2" charset="0"/>
              </a:rPr>
              <a:t>Emberion Production Flow</a:t>
            </a:r>
          </a:p>
        </p:txBody>
      </p:sp>
      <p:sp>
        <p:nvSpPr>
          <p:cNvPr id="12" name="AutoShape 4">
            <a:extLst>
              <a:ext uri="{FF2B5EF4-FFF2-40B4-BE49-F238E27FC236}">
                <a16:creationId xmlns:a16="http://schemas.microsoft.com/office/drawing/2014/main" id="{6BE9137F-1F85-4349-950B-EB544AAAD5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72000" y="25717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>
              <a:defRPr/>
            </a:pPr>
            <a:endParaRPr lang="en-GB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CED796F-B387-994F-94B8-EF159672446D}"/>
              </a:ext>
            </a:extLst>
          </p:cNvPr>
          <p:cNvSpPr/>
          <p:nvPr/>
        </p:nvSpPr>
        <p:spPr>
          <a:xfrm>
            <a:off x="485082" y="4232398"/>
            <a:ext cx="1045096" cy="154158"/>
          </a:xfrm>
          <a:prstGeom prst="rect">
            <a:avLst/>
          </a:prstGeom>
          <a:solidFill>
            <a:srgbClr val="C00000"/>
          </a:solidFill>
          <a:ln>
            <a:solidFill>
              <a:srgbClr val="B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sz="9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mberion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7E5C3593-941B-924B-BA3E-AD37658B6F66}"/>
              </a:ext>
            </a:extLst>
          </p:cNvPr>
          <p:cNvSpPr/>
          <p:nvPr/>
        </p:nvSpPr>
        <p:spPr>
          <a:xfrm>
            <a:off x="485082" y="4455206"/>
            <a:ext cx="1045096" cy="18529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sz="9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bcontracting</a:t>
            </a:r>
          </a:p>
        </p:txBody>
      </p:sp>
      <p:sp>
        <p:nvSpPr>
          <p:cNvPr id="29" name="Content Placeholder 5">
            <a:extLst>
              <a:ext uri="{FF2B5EF4-FFF2-40B4-BE49-F238E27FC236}">
                <a16:creationId xmlns:a16="http://schemas.microsoft.com/office/drawing/2014/main" id="{0AE889EA-23A9-418E-A89B-75E962C471E1}"/>
              </a:ext>
            </a:extLst>
          </p:cNvPr>
          <p:cNvSpPr>
            <a:spLocks noGrp="1"/>
          </p:cNvSpPr>
          <p:nvPr/>
        </p:nvSpPr>
        <p:spPr>
          <a:xfrm>
            <a:off x="546249" y="1300674"/>
            <a:ext cx="8042273" cy="1424470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indent="-257175" defTabSz="685800"/>
            <a:r>
              <a:rPr lang="en-US" sz="1050" dirty="0">
                <a:solidFill>
                  <a:prstClr val="white"/>
                </a:solidFill>
                <a:latin typeface="Roboto Light" panose="02000000000000000000"/>
                <a:ea typeface="Roboto" panose="02000000000000000000" pitchFamily="2" charset="0"/>
                <a:cs typeface="Roboto" panose="02000000000000000000" pitchFamily="2" charset="0"/>
              </a:rPr>
              <a:t>Semi-fabless operation: We utilize subcontractors for various established manufacturing steps but keep all the performance critical steps in house</a:t>
            </a:r>
          </a:p>
          <a:p>
            <a:pPr marL="257175" indent="-257175" defTabSz="685800"/>
            <a:r>
              <a:rPr lang="en-US" sz="1050" dirty="0">
                <a:solidFill>
                  <a:prstClr val="white"/>
                </a:solidFill>
                <a:latin typeface="Roboto Light" panose="02000000000000000000"/>
                <a:ea typeface="Roboto" panose="02000000000000000000" pitchFamily="2" charset="0"/>
                <a:cs typeface="Roboto" panose="02000000000000000000" pitchFamily="2" charset="0"/>
              </a:rPr>
              <a:t>Emberion manages the whole manufacturing process through its captive know-how and IPR and concentrates own resources on the new value adding processes</a:t>
            </a:r>
          </a:p>
          <a:p>
            <a:pPr marL="257175" indent="-257175" defTabSz="685800"/>
            <a:r>
              <a:rPr lang="en-US" sz="1050" dirty="0">
                <a:solidFill>
                  <a:prstClr val="white"/>
                </a:solidFill>
                <a:latin typeface="Roboto Light" panose="02000000000000000000"/>
                <a:ea typeface="Roboto" panose="02000000000000000000" pitchFamily="2" charset="0"/>
                <a:cs typeface="Roboto" panose="02000000000000000000" pitchFamily="2" charset="0"/>
              </a:rPr>
              <a:t>Overall system design by Ember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0443171-C7B7-FF9B-5F1C-68A63D0F2A29}"/>
              </a:ext>
            </a:extLst>
          </p:cNvPr>
          <p:cNvGrpSpPr/>
          <p:nvPr/>
        </p:nvGrpSpPr>
        <p:grpSpPr>
          <a:xfrm>
            <a:off x="445301" y="2012909"/>
            <a:ext cx="8253397" cy="2618183"/>
            <a:chOff x="1655415" y="431087"/>
            <a:chExt cx="7200745" cy="2284257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F13CC89C-DDF8-8587-DF44-3E76861170D2}"/>
                </a:ext>
              </a:extLst>
            </p:cNvPr>
            <p:cNvGrpSpPr/>
            <p:nvPr/>
          </p:nvGrpSpPr>
          <p:grpSpPr>
            <a:xfrm>
              <a:off x="1655415" y="1105766"/>
              <a:ext cx="7200745" cy="1609578"/>
              <a:chOff x="1559288" y="2700152"/>
              <a:chExt cx="7200745" cy="1609578"/>
            </a:xfrm>
          </p:grpSpPr>
          <p:cxnSp>
            <p:nvCxnSpPr>
              <p:cNvPr id="10" name="Straight Arrow Connector 9">
                <a:extLst>
                  <a:ext uri="{FF2B5EF4-FFF2-40B4-BE49-F238E27FC236}">
                    <a16:creationId xmlns:a16="http://schemas.microsoft.com/office/drawing/2014/main" id="{80E173E9-160D-ECC9-9600-3CAAFCB87EA5}"/>
                  </a:ext>
                </a:extLst>
              </p:cNvPr>
              <p:cNvCxnSpPr>
                <a:cxnSpLocks/>
                <a:endCxn id="13" idx="1"/>
              </p:cNvCxnSpPr>
              <p:nvPr/>
            </p:nvCxnSpPr>
            <p:spPr>
              <a:xfrm>
                <a:off x="3742966" y="3150891"/>
                <a:ext cx="229903" cy="0"/>
              </a:xfrm>
              <a:prstGeom prst="straightConnector1">
                <a:avLst/>
              </a:prstGeom>
              <a:ln w="41275">
                <a:solidFill>
                  <a:srgbClr val="B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CEC3F13-3B01-CADF-404D-5CC458954715}"/>
                  </a:ext>
                </a:extLst>
              </p:cNvPr>
              <p:cNvSpPr/>
              <p:nvPr/>
            </p:nvSpPr>
            <p:spPr>
              <a:xfrm>
                <a:off x="2662260" y="2847872"/>
                <a:ext cx="1024509" cy="606041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Standard </a:t>
                </a:r>
                <a:br>
                  <a:rPr lang="en-US" sz="9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</a:br>
                <a:r>
                  <a:rPr lang="en-US" sz="9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CMOS + post-processing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AE29CB78-8A79-FB99-2654-44A2658E30FB}"/>
                  </a:ext>
                </a:extLst>
              </p:cNvPr>
              <p:cNvSpPr/>
              <p:nvPr/>
            </p:nvSpPr>
            <p:spPr>
              <a:xfrm>
                <a:off x="3972870" y="2847870"/>
                <a:ext cx="1024509" cy="606041"/>
              </a:xfrm>
              <a:prstGeom prst="rect">
                <a:avLst/>
              </a:prstGeom>
              <a:solidFill>
                <a:srgbClr val="C00000"/>
              </a:solidFill>
              <a:ln>
                <a:solidFill>
                  <a:srgbClr val="B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Fabrication of photodiode layers on CMOS wafers</a:t>
                </a: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4680810E-8D39-2A98-F1B3-CA16B7C012C0}"/>
                  </a:ext>
                </a:extLst>
              </p:cNvPr>
              <p:cNvSpPr/>
              <p:nvPr/>
            </p:nvSpPr>
            <p:spPr>
              <a:xfrm>
                <a:off x="5227280" y="2847870"/>
                <a:ext cx="1024509" cy="606041"/>
              </a:xfrm>
              <a:prstGeom prst="rect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Image sensor </a:t>
                </a:r>
              </a:p>
              <a:p>
                <a:pPr algn="ctr"/>
                <a:r>
                  <a:rPr lang="en-US" sz="9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packaging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14DE4056-03BB-CB4E-1BBA-CD0D19A715FD}"/>
                  </a:ext>
                </a:extLst>
              </p:cNvPr>
              <p:cNvSpPr/>
              <p:nvPr/>
            </p:nvSpPr>
            <p:spPr>
              <a:xfrm>
                <a:off x="7735525" y="2847869"/>
                <a:ext cx="1024508" cy="606041"/>
              </a:xfrm>
              <a:prstGeom prst="rect">
                <a:avLst/>
              </a:prstGeom>
              <a:solidFill>
                <a:srgbClr val="C00000"/>
              </a:solidFill>
              <a:ln>
                <a:solidFill>
                  <a:srgbClr val="B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Camera testing and calibration</a:t>
                </a:r>
              </a:p>
            </p:txBody>
          </p:sp>
          <p:cxnSp>
            <p:nvCxnSpPr>
              <p:cNvPr id="16" name="Straight Arrow Connector 15">
                <a:extLst>
                  <a:ext uri="{FF2B5EF4-FFF2-40B4-BE49-F238E27FC236}">
                    <a16:creationId xmlns:a16="http://schemas.microsoft.com/office/drawing/2014/main" id="{B15731A4-B9EA-7A40-308F-0CE512FA4D0B}"/>
                  </a:ext>
                </a:extLst>
              </p:cNvPr>
              <p:cNvCxnSpPr>
                <a:stCxn id="13" idx="3"/>
                <a:endCxn id="14" idx="1"/>
              </p:cNvCxnSpPr>
              <p:nvPr/>
            </p:nvCxnSpPr>
            <p:spPr>
              <a:xfrm flipV="1">
                <a:off x="4997378" y="3150891"/>
                <a:ext cx="229903" cy="1"/>
              </a:xfrm>
              <a:prstGeom prst="straightConnector1">
                <a:avLst/>
              </a:prstGeom>
              <a:ln w="41275">
                <a:solidFill>
                  <a:srgbClr val="B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Arrow Connector 16">
                <a:extLst>
                  <a:ext uri="{FF2B5EF4-FFF2-40B4-BE49-F238E27FC236}">
                    <a16:creationId xmlns:a16="http://schemas.microsoft.com/office/drawing/2014/main" id="{DB10C8E8-0E9F-B578-FA14-2DB860A7ACC1}"/>
                  </a:ext>
                </a:extLst>
              </p:cNvPr>
              <p:cNvCxnSpPr>
                <a:cxnSpLocks/>
                <a:endCxn id="15" idx="1"/>
              </p:cNvCxnSpPr>
              <p:nvPr/>
            </p:nvCxnSpPr>
            <p:spPr>
              <a:xfrm flipV="1">
                <a:off x="7505620" y="3150890"/>
                <a:ext cx="229903" cy="1"/>
              </a:xfrm>
              <a:prstGeom prst="straightConnector1">
                <a:avLst/>
              </a:prstGeom>
              <a:ln w="41275">
                <a:solidFill>
                  <a:srgbClr val="B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Arrow: Right 2">
                <a:extLst>
                  <a:ext uri="{FF2B5EF4-FFF2-40B4-BE49-F238E27FC236}">
                    <a16:creationId xmlns:a16="http://schemas.microsoft.com/office/drawing/2014/main" id="{81F731E1-FC99-5E0F-A418-C69FC06D8391}"/>
                  </a:ext>
                </a:extLst>
              </p:cNvPr>
              <p:cNvSpPr/>
              <p:nvPr/>
            </p:nvSpPr>
            <p:spPr>
              <a:xfrm>
                <a:off x="1559288" y="2700152"/>
                <a:ext cx="1024509" cy="925248"/>
              </a:xfrm>
              <a:prstGeom prst="rightArrow">
                <a:avLst>
                  <a:gd name="adj1" fmla="val 71236"/>
                  <a:gd name="adj2" fmla="val 27924"/>
                </a:avLst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5200" tIns="62400" rIns="0" rtlCol="0" anchor="ctr"/>
              <a:lstStyle/>
              <a:p>
                <a:pPr algn="ctr"/>
                <a:r>
                  <a:rPr lang="en-US" sz="9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Own design </a:t>
                </a:r>
                <a:br>
                  <a:rPr lang="en-US" sz="9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</a:br>
                <a:r>
                  <a:rPr lang="en-US" sz="9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&amp; intellectual property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083050FE-9F7E-8C2F-4EB2-813AFFC952F6}"/>
                  </a:ext>
                </a:extLst>
              </p:cNvPr>
              <p:cNvSpPr/>
              <p:nvPr/>
            </p:nvSpPr>
            <p:spPr>
              <a:xfrm>
                <a:off x="6481111" y="2847869"/>
                <a:ext cx="1024509" cy="606041"/>
              </a:xfrm>
              <a:prstGeom prst="rect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Camera</a:t>
                </a:r>
                <a:br>
                  <a:rPr lang="en-US" sz="90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</a:br>
                <a:r>
                  <a:rPr lang="en-US" sz="90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assembly and programming</a:t>
                </a:r>
              </a:p>
            </p:txBody>
          </p:sp>
          <p:cxnSp>
            <p:nvCxnSpPr>
              <p:cNvPr id="20" name="Straight Arrow Connector 19">
                <a:extLst>
                  <a:ext uri="{FF2B5EF4-FFF2-40B4-BE49-F238E27FC236}">
                    <a16:creationId xmlns:a16="http://schemas.microsoft.com/office/drawing/2014/main" id="{8DFB2245-C8F1-5C84-51C3-4F3BEF3D4F0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51208" y="3162776"/>
                <a:ext cx="229903" cy="1"/>
              </a:xfrm>
              <a:prstGeom prst="straightConnector1">
                <a:avLst/>
              </a:prstGeom>
              <a:ln w="41275">
                <a:solidFill>
                  <a:srgbClr val="B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D2204A6-6064-B7A5-1A30-E58816DCB4CD}"/>
                  </a:ext>
                </a:extLst>
              </p:cNvPr>
              <p:cNvSpPr/>
              <p:nvPr/>
            </p:nvSpPr>
            <p:spPr>
              <a:xfrm>
                <a:off x="6481111" y="3703689"/>
                <a:ext cx="1024509" cy="606041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Camera core mechanics and electronics</a:t>
                </a:r>
              </a:p>
            </p:txBody>
          </p:sp>
          <p:cxnSp>
            <p:nvCxnSpPr>
              <p:cNvPr id="22" name="Straight Arrow Connector 21">
                <a:extLst>
                  <a:ext uri="{FF2B5EF4-FFF2-40B4-BE49-F238E27FC236}">
                    <a16:creationId xmlns:a16="http://schemas.microsoft.com/office/drawing/2014/main" id="{44D15B90-8609-66CC-2EEA-4B07E319FB89}"/>
                  </a:ext>
                </a:extLst>
              </p:cNvPr>
              <p:cNvCxnSpPr>
                <a:cxnSpLocks/>
              </p:cNvCxnSpPr>
              <p:nvPr/>
            </p:nvCxnSpPr>
            <p:spPr>
              <a:xfrm rot="-5400000">
                <a:off x="6886730" y="3576437"/>
                <a:ext cx="229903" cy="0"/>
              </a:xfrm>
              <a:prstGeom prst="straightConnector1">
                <a:avLst/>
              </a:prstGeom>
              <a:ln w="41275">
                <a:solidFill>
                  <a:srgbClr val="B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D64BBBA-237C-C4B2-EFAC-B6C4D99F9459}"/>
                </a:ext>
              </a:extLst>
            </p:cNvPr>
            <p:cNvSpPr/>
            <p:nvPr/>
          </p:nvSpPr>
          <p:spPr>
            <a:xfrm>
              <a:off x="4077327" y="2101592"/>
              <a:ext cx="1024509" cy="60604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ynthesis of quantum dots</a:t>
              </a: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C42FD215-F1D6-B052-6D2D-8D70EB87C1A8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4474628" y="1982051"/>
              <a:ext cx="229903" cy="0"/>
            </a:xfrm>
            <a:prstGeom prst="straightConnector1">
              <a:avLst/>
            </a:prstGeom>
            <a:ln w="41275">
              <a:solidFill>
                <a:srgbClr val="B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AD1F8BD-BDF0-488C-FFF7-FECFF2DA57CF}"/>
                </a:ext>
              </a:extLst>
            </p:cNvPr>
            <p:cNvSpPr/>
            <p:nvPr/>
          </p:nvSpPr>
          <p:spPr>
            <a:xfrm>
              <a:off x="6585553" y="431087"/>
              <a:ext cx="1024509" cy="606041"/>
            </a:xfrm>
            <a:prstGeom prst="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Camera</a:t>
              </a:r>
              <a:br>
                <a:rPr lang="en-US" sz="9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firmware and algorithms</a:t>
              </a: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5940EC5A-0836-B909-1B30-92B93A560FFF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6987641" y="1152080"/>
              <a:ext cx="229903" cy="0"/>
            </a:xfrm>
            <a:prstGeom prst="straightConnector1">
              <a:avLst/>
            </a:prstGeom>
            <a:ln w="41275">
              <a:solidFill>
                <a:srgbClr val="B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6E1B1300-1EF4-A8C4-58FD-ED172C5BE8A2}"/>
              </a:ext>
            </a:extLst>
          </p:cNvPr>
          <p:cNvSpPr/>
          <p:nvPr/>
        </p:nvSpPr>
        <p:spPr>
          <a:xfrm>
            <a:off x="4649504" y="3945867"/>
            <a:ext cx="1174278" cy="69463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nsor package component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62ED057-A882-DC7A-283B-9D31BB4B1903}"/>
              </a:ext>
            </a:extLst>
          </p:cNvPr>
          <p:cNvCxnSpPr>
            <a:cxnSpLocks/>
          </p:cNvCxnSpPr>
          <p:nvPr/>
        </p:nvCxnSpPr>
        <p:spPr>
          <a:xfrm rot="16200000">
            <a:off x="5104888" y="3790602"/>
            <a:ext cx="263511" cy="0"/>
          </a:xfrm>
          <a:prstGeom prst="straightConnector1">
            <a:avLst/>
          </a:prstGeom>
          <a:ln w="41275">
            <a:solidFill>
              <a:srgbClr val="B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91422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58B058-F9D1-4C28-B9A0-E9EB97F37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328" y="54268"/>
            <a:ext cx="7560000" cy="756000"/>
          </a:xfrm>
        </p:spPr>
        <p:txBody>
          <a:bodyPr vert="horz" wrap="none" lIns="0" tIns="0" rIns="0" bIns="0" rtlCol="0" anchor="ctr">
            <a:normAutofit/>
          </a:bodyPr>
          <a:lstStyle/>
          <a:p>
            <a:r>
              <a:rPr lang="en-GB" sz="2000" dirty="0">
                <a:solidFill>
                  <a:prstClr val="white"/>
                </a:solidFill>
                <a:latin typeface="Roboto Light" panose="02000000000000000000"/>
                <a:cs typeface="Roboto Light" panose="02000000000000000000" pitchFamily="2" charset="0"/>
              </a:rPr>
              <a:t>Cambridge Site Capabiliti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1C8FCAA-8BC7-4184-9BDA-1BF77176695F}"/>
              </a:ext>
            </a:extLst>
          </p:cNvPr>
          <p:cNvSpPr txBox="1"/>
          <p:nvPr/>
        </p:nvSpPr>
        <p:spPr>
          <a:xfrm>
            <a:off x="689335" y="1276112"/>
            <a:ext cx="407067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>
              <a:defRPr/>
            </a:pPr>
            <a:r>
              <a:rPr lang="en-GB" sz="12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ab facility</a:t>
            </a:r>
          </a:p>
          <a:p>
            <a:pPr marL="285743" indent="-285743" defTabSz="914378"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F79646">
                    <a:lumMod val="75000"/>
                  </a:srgb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ate of the Art </a:t>
            </a:r>
            <a:r>
              <a:rPr lang="en-GB" sz="12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lovebox system</a:t>
            </a:r>
          </a:p>
          <a:p>
            <a:pPr marL="285743" indent="-285743" defTabSz="914378"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FF7F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rkroom </a:t>
            </a:r>
            <a:r>
              <a:rPr lang="en-GB" sz="12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/ measurement lab</a:t>
            </a:r>
          </a:p>
          <a:p>
            <a:pPr marL="285743" indent="-285743" defTabSz="914378"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F79646">
                    <a:lumMod val="75000"/>
                  </a:srgb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ean working </a:t>
            </a:r>
            <a:r>
              <a:rPr lang="en-GB" sz="12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vironment</a:t>
            </a:r>
            <a:endParaRPr lang="en-GB" sz="1200" dirty="0">
              <a:solidFill>
                <a:srgbClr val="F79646">
                  <a:lumMod val="75000"/>
                </a:srgb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43" indent="-285743" defTabSz="914378">
              <a:buFont typeface="Arial" panose="020B0604020202020204" pitchFamily="34" charset="0"/>
              <a:buChar char="•"/>
              <a:defRPr/>
            </a:pPr>
            <a:endParaRPr lang="en-GB" sz="1200" dirty="0">
              <a:solidFill>
                <a:srgbClr val="F79646">
                  <a:lumMod val="75000"/>
                </a:srgb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defTabSz="914378">
              <a:defRPr/>
            </a:pPr>
            <a:r>
              <a:rPr lang="en-GB" sz="12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pabilities for small volume production; a few 8” wafers per week</a:t>
            </a:r>
          </a:p>
        </p:txBody>
      </p:sp>
      <p:sp>
        <p:nvSpPr>
          <p:cNvPr id="12" name="AutoShape 4">
            <a:extLst>
              <a:ext uri="{FF2B5EF4-FFF2-40B4-BE49-F238E27FC236}">
                <a16:creationId xmlns:a16="http://schemas.microsoft.com/office/drawing/2014/main" id="{6BE9137F-1F85-4349-950B-EB544AAAD5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72000" y="25717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>
              <a:defRPr/>
            </a:pPr>
            <a:endParaRPr lang="en-GB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1" name="Picture 10" descr="A picture containing toy, light, sitting, table&#10;&#10;Description automatically generated">
            <a:extLst>
              <a:ext uri="{FF2B5EF4-FFF2-40B4-BE49-F238E27FC236}">
                <a16:creationId xmlns:a16="http://schemas.microsoft.com/office/drawing/2014/main" id="{00F9B0D5-3D44-4655-A50A-6365321ABFD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12260" y="702895"/>
            <a:ext cx="3284427" cy="257164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08A6626-6221-470C-B021-3427EA6963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8704" y="3417804"/>
            <a:ext cx="1626634" cy="1219976"/>
          </a:xfrm>
          <a:prstGeom prst="rect">
            <a:avLst/>
          </a:prstGeom>
        </p:spPr>
      </p:pic>
      <p:pic>
        <p:nvPicPr>
          <p:cNvPr id="16" name="Picture 15" descr="A cluttered room&#10;&#10;Description automatically generated">
            <a:extLst>
              <a:ext uri="{FF2B5EF4-FFF2-40B4-BE49-F238E27FC236}">
                <a16:creationId xmlns:a16="http://schemas.microsoft.com/office/drawing/2014/main" id="{694FB413-6146-3E40-8B40-059B0C9072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7124" y="3417804"/>
            <a:ext cx="2574014" cy="1219976"/>
          </a:xfrm>
          <a:prstGeom prst="rect">
            <a:avLst/>
          </a:prstGeom>
        </p:spPr>
      </p:pic>
      <p:pic>
        <p:nvPicPr>
          <p:cNvPr id="15" name="Picture 14" descr="A picture containing indoor, floor, kitchen, room&#10;&#10;Description automatically generated">
            <a:extLst>
              <a:ext uri="{FF2B5EF4-FFF2-40B4-BE49-F238E27FC236}">
                <a16:creationId xmlns:a16="http://schemas.microsoft.com/office/drawing/2014/main" id="{DDDC8FD5-1E0F-424C-9D7A-EC4ED7051CE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722" y="3409620"/>
            <a:ext cx="3917404" cy="122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6888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tx1">
                <a:lumMod val="95000"/>
                <a:lumOff val="5000"/>
              </a:schemeClr>
            </a:gs>
            <a:gs pos="48000">
              <a:schemeClr val="tx1">
                <a:lumMod val="50000"/>
                <a:lumOff val="50000"/>
              </a:schemeClr>
            </a:gs>
            <a:gs pos="100000">
              <a:schemeClr val="tx1">
                <a:lumMod val="95000"/>
                <a:lumOff val="5000"/>
              </a:schemeClr>
            </a:gs>
          </a:gsLst>
          <a:lin ang="0" scaled="0"/>
        </a:gradFill>
        <a:ln w="6350">
          <a:solidFill>
            <a:srgbClr val="FF7F00"/>
          </a:solidFill>
        </a:ln>
        <a:effectLst>
          <a:glow rad="101600">
            <a:schemeClr val="accent2">
              <a:satMod val="175000"/>
              <a:alpha val="21000"/>
            </a:schemeClr>
          </a:glow>
        </a:effectLst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mberion_Full_Deck_2020" id="{890A9AEA-D21F-C34A-AEEB-B4846FB30BD7}" vid="{7A16A525-D490-3D4B-BBEE-743576E14D6E}"/>
    </a:ext>
  </a:extLst>
</a:theme>
</file>

<file path=ppt/theme/theme2.xml><?xml version="1.0" encoding="utf-8"?>
<a:theme xmlns:a="http://schemas.openxmlformats.org/drawingml/2006/main" name="5_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DBDEAF0B-03D8-4C45-8EBA-0A64631FC199}" vid="{9D58647B-3817-764C-95BB-6D1C296B2F41}"/>
    </a:ext>
  </a:extLst>
</a:theme>
</file>

<file path=ppt/theme/theme3.xml><?xml version="1.0" encoding="utf-8"?>
<a:theme xmlns:a="http://schemas.openxmlformats.org/drawingml/2006/main" name="6_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tx1">
                <a:lumMod val="95000"/>
                <a:lumOff val="5000"/>
              </a:schemeClr>
            </a:gs>
            <a:gs pos="48000">
              <a:schemeClr val="tx1">
                <a:lumMod val="50000"/>
                <a:lumOff val="50000"/>
              </a:schemeClr>
            </a:gs>
            <a:gs pos="100000">
              <a:schemeClr val="tx1">
                <a:lumMod val="95000"/>
                <a:lumOff val="5000"/>
              </a:schemeClr>
            </a:gs>
          </a:gsLst>
          <a:lin ang="0" scaled="0"/>
        </a:gradFill>
        <a:ln w="6350">
          <a:solidFill>
            <a:srgbClr val="FF7F00"/>
          </a:solidFill>
        </a:ln>
        <a:effectLst>
          <a:glow rad="101600">
            <a:schemeClr val="accent2">
              <a:satMod val="175000"/>
              <a:alpha val="21000"/>
            </a:schemeClr>
          </a:glow>
        </a:effectLst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mberion_Full_Deck_2020" id="{890A9AEA-D21F-C34A-AEEB-B4846FB30BD7}" vid="{7A16A525-D490-3D4B-BBEE-743576E14D6E}"/>
    </a:ext>
  </a:extLst>
</a:theme>
</file>

<file path=ppt/theme/theme4.xml><?xml version="1.0" encoding="utf-8"?>
<a:theme xmlns:a="http://schemas.openxmlformats.org/drawingml/2006/main" name="7_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tx1">
                <a:lumMod val="95000"/>
                <a:lumOff val="5000"/>
              </a:schemeClr>
            </a:gs>
            <a:gs pos="48000">
              <a:schemeClr val="tx1">
                <a:lumMod val="50000"/>
                <a:lumOff val="50000"/>
              </a:schemeClr>
            </a:gs>
            <a:gs pos="100000">
              <a:schemeClr val="tx1">
                <a:lumMod val="95000"/>
                <a:lumOff val="5000"/>
              </a:schemeClr>
            </a:gs>
          </a:gsLst>
          <a:lin ang="0" scaled="0"/>
        </a:gradFill>
        <a:ln w="6350">
          <a:solidFill>
            <a:srgbClr val="FF7F00"/>
          </a:solidFill>
        </a:ln>
        <a:effectLst>
          <a:glow rad="101600">
            <a:schemeClr val="accent2">
              <a:satMod val="175000"/>
              <a:alpha val="21000"/>
            </a:schemeClr>
          </a:glow>
        </a:effectLst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mberion_Full_Deck_2020" id="{890A9AEA-D21F-C34A-AEEB-B4846FB30BD7}" vid="{7A16A525-D490-3D4B-BBEE-743576E14D6E}"/>
    </a:ext>
  </a:extLst>
</a:theme>
</file>

<file path=ppt/theme/theme5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DBDEAF0B-03D8-4C45-8EBA-0A64631FC199}" vid="{9D58647B-3817-764C-95BB-6D1C296B2F41}"/>
    </a:ext>
  </a:extLst>
</a:theme>
</file>

<file path=ppt/theme/theme6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296F26596AEC46AABCD6E9250CEAC9" ma:contentTypeVersion="15" ma:contentTypeDescription="Create a new document." ma:contentTypeScope="" ma:versionID="20d6c8d4148666285a1d85b6efd02bc3">
  <xsd:schema xmlns:xsd="http://www.w3.org/2001/XMLSchema" xmlns:xs="http://www.w3.org/2001/XMLSchema" xmlns:p="http://schemas.microsoft.com/office/2006/metadata/properties" xmlns:ns2="ecb940d1-de56-47db-beb7-a7b10c84dcf4" xmlns:ns3="e0d566a0-a05a-4b13-ba21-e737f4e592e6" targetNamespace="http://schemas.microsoft.com/office/2006/metadata/properties" ma:root="true" ma:fieldsID="40f86543bf2cded5b8fd1f2899494dd0" ns2:_="" ns3:_="">
    <xsd:import namespace="ecb940d1-de56-47db-beb7-a7b10c84dcf4"/>
    <xsd:import namespace="e0d566a0-a05a-4b13-ba21-e737f4e592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b940d1-de56-47db-beb7-a7b10c84dc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4af3b3d7-9c69-4d2f-ba07-7af3119acaf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d566a0-a05a-4b13-ba21-e737f4e592e6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681a427a-eb44-4800-a3fa-4aa54efd48e4}" ma:internalName="TaxCatchAll" ma:showField="CatchAllData" ma:web="e0d566a0-a05a-4b13-ba21-e737f4e592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cb940d1-de56-47db-beb7-a7b10c84dcf4">
      <Terms xmlns="http://schemas.microsoft.com/office/infopath/2007/PartnerControls"/>
    </lcf76f155ced4ddcb4097134ff3c332f>
    <TaxCatchAll xmlns="e0d566a0-a05a-4b13-ba21-e737f4e592e6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F10A888-4C53-4BEE-8D45-BD2F9EDC0F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cb940d1-de56-47db-beb7-a7b10c84dcf4"/>
    <ds:schemaRef ds:uri="e0d566a0-a05a-4b13-ba21-e737f4e592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7D63FD1-6DC4-4AC0-88C4-94572BB7C90A}">
  <ds:schemaRefs>
    <ds:schemaRef ds:uri="http://schemas.microsoft.com/office/2006/metadata/properties"/>
    <ds:schemaRef ds:uri="http://schemas.microsoft.com/office/infopath/2007/PartnerControls"/>
    <ds:schemaRef ds:uri="ecb940d1-de56-47db-beb7-a7b10c84dcf4"/>
    <ds:schemaRef ds:uri="e0d566a0-a05a-4b13-ba21-e737f4e592e6"/>
  </ds:schemaRefs>
</ds:datastoreItem>
</file>

<file path=customXml/itemProps3.xml><?xml version="1.0" encoding="utf-8"?>
<ds:datastoreItem xmlns:ds="http://schemas.openxmlformats.org/officeDocument/2006/customXml" ds:itemID="{83AA5839-7F10-484E-ACFE-A8066C5EA5A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oadenYourVision</Template>
  <TotalTime>4473</TotalTime>
  <Words>913</Words>
  <Application>Microsoft Office PowerPoint</Application>
  <PresentationFormat>On-screen Show (16:9)</PresentationFormat>
  <Paragraphs>143</Paragraphs>
  <Slides>8</Slides>
  <Notes>4</Notes>
  <HiddenSlides>2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2" baseType="lpstr">
      <vt:lpstr>Arial</vt:lpstr>
      <vt:lpstr>Calibri</vt:lpstr>
      <vt:lpstr>Century Gothic</vt:lpstr>
      <vt:lpstr>Montserrat</vt:lpstr>
      <vt:lpstr>Roboto</vt:lpstr>
      <vt:lpstr>Roboto Light</vt:lpstr>
      <vt:lpstr>Roboto Medium</vt:lpstr>
      <vt:lpstr>Roboto Thin</vt:lpstr>
      <vt:lpstr>4_Office-teema</vt:lpstr>
      <vt:lpstr>5_Office-teema</vt:lpstr>
      <vt:lpstr>6_Office-teema</vt:lpstr>
      <vt:lpstr>7_Office-teema</vt:lpstr>
      <vt:lpstr>Office-teema</vt:lpstr>
      <vt:lpstr>think-cell Slide</vt:lpstr>
      <vt:lpstr>PowerPoint Presentation</vt:lpstr>
      <vt:lpstr>PowerPoint Presentation</vt:lpstr>
      <vt:lpstr>PowerPoint Presentation</vt:lpstr>
      <vt:lpstr>PowerPoint Presentation</vt:lpstr>
      <vt:lpstr>Introduction to management </vt:lpstr>
      <vt:lpstr>PowerPoint Presentation</vt:lpstr>
      <vt:lpstr>Emberion Production Flow</vt:lpstr>
      <vt:lpstr>Cambridge Site Capabilit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berion non-NDA presentation</dc:title>
  <dc:creator>vuokko.lantz@emberion.com</dc:creator>
  <cp:lastModifiedBy>Jyri Hamalainen</cp:lastModifiedBy>
  <cp:revision>686</cp:revision>
  <cp:lastPrinted>2020-01-31T11:48:59Z</cp:lastPrinted>
  <dcterms:created xsi:type="dcterms:W3CDTF">2017-09-05T09:54:12Z</dcterms:created>
  <dcterms:modified xsi:type="dcterms:W3CDTF">2024-01-11T14:4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296F26596AEC46AABCD6E9250CEAC9</vt:lpwstr>
  </property>
  <property fmtid="{D5CDD505-2E9C-101B-9397-08002B2CF9AE}" pid="3" name="MediaServiceImageTags">
    <vt:lpwstr/>
  </property>
</Properties>
</file>